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190.xml" ContentType="application/vnd.ms-office.chartcolorstyle+xml"/>
  <Override PartName="/ppt/charts/colors191.xml" ContentType="application/vnd.ms-office.chartcolorstyle+xml"/>
  <Override PartName="/ppt/charts/colors192.xml" ContentType="application/vnd.ms-office.chartcolorstyle+xml"/>
  <Override PartName="/ppt/charts/colors193.xml" ContentType="application/vnd.ms-office.chartcolorstyle+xml"/>
  <Override PartName="/ppt/charts/colors194.xml" ContentType="application/vnd.ms-office.chartcolorstyle+xml"/>
  <Override PartName="/ppt/charts/colors195.xml" ContentType="application/vnd.ms-office.chartcolorstyle+xml"/>
  <Override PartName="/ppt/charts/colors196.xml" ContentType="application/vnd.ms-office.chartcolorstyle+xml"/>
  <Override PartName="/ppt/charts/colors197.xml" ContentType="application/vnd.ms-office.chartcolorstyle+xml"/>
  <Override PartName="/ppt/charts/colors198.xml" ContentType="application/vnd.ms-office.chartcolorstyle+xml"/>
  <Override PartName="/ppt/charts/colors1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1.xml" ContentType="application/vnd.ms-office.chartcolorstyle+xml"/>
  <Override PartName="/ppt/charts/colors202.xml" ContentType="application/vnd.ms-office.chartcolorstyle+xml"/>
  <Override PartName="/ppt/charts/colors203.xml" ContentType="application/vnd.ms-office.chartcolorstyle+xml"/>
  <Override PartName="/ppt/charts/colors204.xml" ContentType="application/vnd.ms-office.chartcolorstyle+xml"/>
  <Override PartName="/ppt/charts/colors205.xml" ContentType="application/vnd.ms-office.chartcolorstyle+xml"/>
  <Override PartName="/ppt/charts/colors206.xml" ContentType="application/vnd.ms-office.chartcolorstyle+xml"/>
  <Override PartName="/ppt/charts/colors207.xml" ContentType="application/vnd.ms-office.chartcolorstyle+xml"/>
  <Override PartName="/ppt/charts/colors208.xml" ContentType="application/vnd.ms-office.chartcolorstyle+xml"/>
  <Override PartName="/ppt/charts/colors209.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34.xml" ContentType="application/vnd.ms-office.chartcolorstyle+xml"/>
  <Override PartName="/ppt/charts/colors235.xml" ContentType="application/vnd.ms-office.chartcolorstyle+xml"/>
  <Override PartName="/ppt/charts/colors236.xml" ContentType="application/vnd.ms-office.chartcolorstyle+xml"/>
  <Override PartName="/ppt/charts/colors237.xml" ContentType="application/vnd.ms-office.chartcolorstyle+xml"/>
  <Override PartName="/ppt/charts/colors238.xml" ContentType="application/vnd.ms-office.chartcolorstyle+xml"/>
  <Override PartName="/ppt/charts/colors239.xml" ContentType="application/vnd.ms-office.chartcolorstyle+xml"/>
  <Override PartName="/ppt/charts/colors24.xml" ContentType="application/vnd.ms-office.chartcolorstyle+xml"/>
  <Override PartName="/ppt/charts/colors240.xml" ContentType="application/vnd.ms-office.chartcolorstyle+xml"/>
  <Override PartName="/ppt/charts/colors241.xml" ContentType="application/vnd.ms-office.chartcolorstyle+xml"/>
  <Override PartName="/ppt/charts/colors242.xml" ContentType="application/vnd.ms-office.chartcolorstyle+xml"/>
  <Override PartName="/ppt/charts/colors243.xml" ContentType="application/vnd.ms-office.chartcolorstyle+xml"/>
  <Override PartName="/ppt/charts/colors244.xml" ContentType="application/vnd.ms-office.chartcolorstyle+xml"/>
  <Override PartName="/ppt/charts/colors245.xml" ContentType="application/vnd.ms-office.chartcolorstyle+xml"/>
  <Override PartName="/ppt/charts/colors246.xml" ContentType="application/vnd.ms-office.chartcolorstyle+xml"/>
  <Override PartName="/ppt/charts/colors247.xml" ContentType="application/vnd.ms-office.chartcolorstyle+xml"/>
  <Override PartName="/ppt/charts/colors248.xml" ContentType="application/vnd.ms-office.chartcolorstyle+xml"/>
  <Override PartName="/ppt/charts/colors249.xml" ContentType="application/vnd.ms-office.chartcolorstyle+xml"/>
  <Override PartName="/ppt/charts/colors25.xml" ContentType="application/vnd.ms-office.chartcolorstyle+xml"/>
  <Override PartName="/ppt/charts/colors250.xml" ContentType="application/vnd.ms-office.chartcolorstyle+xml"/>
  <Override PartName="/ppt/charts/colors251.xml" ContentType="application/vnd.ms-office.chartcolorstyle+xml"/>
  <Override PartName="/ppt/charts/colors252.xml" ContentType="application/vnd.ms-office.chartcolorstyle+xml"/>
  <Override PartName="/ppt/charts/colors253.xml" ContentType="application/vnd.ms-office.chartcolorstyle+xml"/>
  <Override PartName="/ppt/charts/colors254.xml" ContentType="application/vnd.ms-office.chartcolorstyle+xml"/>
  <Override PartName="/ppt/charts/colors255.xml" ContentType="application/vnd.ms-office.chartcolorstyle+xml"/>
  <Override PartName="/ppt/charts/colors256.xml" ContentType="application/vnd.ms-office.chartcolorstyle+xml"/>
  <Override PartName="/ppt/charts/colors257.xml" ContentType="application/vnd.ms-office.chartcolorstyle+xml"/>
  <Override PartName="/ppt/charts/colors258.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11.xml" ContentType="application/vnd.ms-office.chartcolorstyle+xml"/>
  <Override PartName="/ppt/charts/colors312.xml" ContentType="application/vnd.ms-office.chartcolorstyle+xml"/>
  <Override PartName="/ppt/charts/colors313.xml" ContentType="application/vnd.ms-office.chartcolorstyle+xml"/>
  <Override PartName="/ppt/charts/colors314.xml" ContentType="application/vnd.ms-office.chartcolorstyle+xml"/>
  <Override PartName="/ppt/charts/colors315.xml" ContentType="application/vnd.ms-office.chartcolorstyle+xml"/>
  <Override PartName="/ppt/charts/colors316.xml" ContentType="application/vnd.ms-office.chartcolorstyle+xml"/>
  <Override PartName="/ppt/charts/colors317.xml" ContentType="application/vnd.ms-office.chartcolorstyle+xml"/>
  <Override PartName="/ppt/charts/colors318.xml" ContentType="application/vnd.ms-office.chartcolorstyle+xml"/>
  <Override PartName="/ppt/charts/colors319.xml" ContentType="application/vnd.ms-office.chartcolorstyle+xml"/>
  <Override PartName="/ppt/charts/colors32.xml" ContentType="application/vnd.ms-office.chartcolorstyle+xml"/>
  <Override PartName="/ppt/charts/colors320.xml" ContentType="application/vnd.ms-office.chartcolorstyle+xml"/>
  <Override PartName="/ppt/charts/colors321.xml" ContentType="application/vnd.ms-office.chartcolorstyle+xml"/>
  <Override PartName="/ppt/charts/colors322.xml" ContentType="application/vnd.ms-office.chartcolorstyle+xml"/>
  <Override PartName="/ppt/charts/colors323.xml" ContentType="application/vnd.ms-office.chartcolorstyle+xml"/>
  <Override PartName="/ppt/charts/colors324.xml" ContentType="application/vnd.ms-office.chartcolorstyle+xml"/>
  <Override PartName="/ppt/charts/colors325.xml" ContentType="application/vnd.ms-office.chartcolorstyle+xml"/>
  <Override PartName="/ppt/charts/colors326.xml" ContentType="application/vnd.ms-office.chartcolorstyle+xml"/>
  <Override PartName="/ppt/charts/colors327.xml" ContentType="application/vnd.ms-office.chartcolorstyle+xml"/>
  <Override PartName="/ppt/charts/colors328.xml" ContentType="application/vnd.ms-office.chartcolorstyle+xml"/>
  <Override PartName="/ppt/charts/colors329.xml" ContentType="application/vnd.ms-office.chartcolorstyle+xml"/>
  <Override PartName="/ppt/charts/colors33.xml" ContentType="application/vnd.ms-office.chartcolorstyle+xml"/>
  <Override PartName="/ppt/charts/colors330.xml" ContentType="application/vnd.ms-office.chartcolorstyle+xml"/>
  <Override PartName="/ppt/charts/colors331.xml" ContentType="application/vnd.ms-office.chartcolorstyle+xml"/>
  <Override PartName="/ppt/charts/colors332.xml" ContentType="application/vnd.ms-office.chartcolorstyle+xml"/>
  <Override PartName="/ppt/charts/colors333.xml" ContentType="application/vnd.ms-office.chartcolorstyle+xml"/>
  <Override PartName="/ppt/charts/colors334.xml" ContentType="application/vnd.ms-office.chartcolorstyle+xml"/>
  <Override PartName="/ppt/charts/colors335.xml" ContentType="application/vnd.ms-office.chartcolorstyle+xml"/>
  <Override PartName="/ppt/charts/colors336.xml" ContentType="application/vnd.ms-office.chartcolorstyle+xml"/>
  <Override PartName="/ppt/charts/colors337.xml" ContentType="application/vnd.ms-office.chartcolorstyle+xml"/>
  <Override PartName="/ppt/charts/colors338.xml" ContentType="application/vnd.ms-office.chartcolorstyle+xml"/>
  <Override PartName="/ppt/charts/colors339.xml" ContentType="application/vnd.ms-office.chartcolorstyle+xml"/>
  <Override PartName="/ppt/charts/colors34.xml" ContentType="application/vnd.ms-office.chartcolorstyle+xml"/>
  <Override PartName="/ppt/charts/colors340.xml" ContentType="application/vnd.ms-office.chartcolorstyle+xml"/>
  <Override PartName="/ppt/charts/colors341.xml" ContentType="application/vnd.ms-office.chartcolorstyle+xml"/>
  <Override PartName="/ppt/charts/colors342.xml" ContentType="application/vnd.ms-office.chartcolorstyle+xml"/>
  <Override PartName="/ppt/charts/colors343.xml" ContentType="application/vnd.ms-office.chartcolorstyle+xml"/>
  <Override PartName="/ppt/charts/colors344.xml" ContentType="application/vnd.ms-office.chartcolorstyle+xml"/>
  <Override PartName="/ppt/charts/colors345.xml" ContentType="application/vnd.ms-office.chartcolorstyle+xml"/>
  <Override PartName="/ppt/charts/colors346.xml" ContentType="application/vnd.ms-office.chartcolorstyle+xml"/>
  <Override PartName="/ppt/charts/colors347.xml" ContentType="application/vnd.ms-office.chartcolorstyle+xml"/>
  <Override PartName="/ppt/charts/colors348.xml" ContentType="application/vnd.ms-office.chartcolorstyle+xml"/>
  <Override PartName="/ppt/charts/colors349.xml" ContentType="application/vnd.ms-office.chartcolorstyle+xml"/>
  <Override PartName="/ppt/charts/colors35.xml" ContentType="application/vnd.ms-office.chartcolorstyle+xml"/>
  <Override PartName="/ppt/charts/colors350.xml" ContentType="application/vnd.ms-office.chartcolorstyle+xml"/>
  <Override PartName="/ppt/charts/colors351.xml" ContentType="application/vnd.ms-office.chartcolorstyle+xml"/>
  <Override PartName="/ppt/charts/colors352.xml" ContentType="application/vnd.ms-office.chartcolorstyle+xml"/>
  <Override PartName="/ppt/charts/colors353.xml" ContentType="application/vnd.ms-office.chartcolorstyle+xml"/>
  <Override PartName="/ppt/charts/colors354.xml" ContentType="application/vnd.ms-office.chartcolorstyle+xml"/>
  <Override PartName="/ppt/charts/colors355.xml" ContentType="application/vnd.ms-office.chartcolorstyle+xml"/>
  <Override PartName="/ppt/charts/colors356.xml" ContentType="application/vnd.ms-office.chartcolorstyle+xml"/>
  <Override PartName="/ppt/charts/colors357.xml" ContentType="application/vnd.ms-office.chartcolorstyle+xml"/>
  <Override PartName="/ppt/charts/colors358.xml" ContentType="application/vnd.ms-office.chartcolorstyle+xml"/>
  <Override PartName="/ppt/charts/colors359.xml" ContentType="application/vnd.ms-office.chartcolorstyle+xml"/>
  <Override PartName="/ppt/charts/colors36.xml" ContentType="application/vnd.ms-office.chartcolorstyle+xml"/>
  <Override PartName="/ppt/charts/colors360.xml" ContentType="application/vnd.ms-office.chartcolorstyle+xml"/>
  <Override PartName="/ppt/charts/colors361.xml" ContentType="application/vnd.ms-office.chartcolorstyle+xml"/>
  <Override PartName="/ppt/charts/colors362.xml" ContentType="application/vnd.ms-office.chartcolorstyle+xml"/>
  <Override PartName="/ppt/charts/colors363.xml" ContentType="application/vnd.ms-office.chartcolorstyle+xml"/>
  <Override PartName="/ppt/charts/colors364.xml" ContentType="application/vnd.ms-office.chartcolorstyle+xml"/>
  <Override PartName="/ppt/charts/colors365.xml" ContentType="application/vnd.ms-office.chartcolorstyle+xml"/>
  <Override PartName="/ppt/charts/colors366.xml" ContentType="application/vnd.ms-office.chartcolorstyle+xml"/>
  <Override PartName="/ppt/charts/colors367.xml" ContentType="application/vnd.ms-office.chartcolorstyle+xml"/>
  <Override PartName="/ppt/charts/colors368.xml" ContentType="application/vnd.ms-office.chartcolorstyle+xml"/>
  <Override PartName="/ppt/charts/colors369.xml" ContentType="application/vnd.ms-office.chartcolorstyle+xml"/>
  <Override PartName="/ppt/charts/colors37.xml" ContentType="application/vnd.ms-office.chartcolorstyle+xml"/>
  <Override PartName="/ppt/charts/colors370.xml" ContentType="application/vnd.ms-office.chartcolorstyle+xml"/>
  <Override PartName="/ppt/charts/colors371.xml" ContentType="application/vnd.ms-office.chartcolorstyle+xml"/>
  <Override PartName="/ppt/charts/colors372.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190.xml" ContentType="application/vnd.ms-office.chartstyle+xml"/>
  <Override PartName="/ppt/charts/style191.xml" ContentType="application/vnd.ms-office.chartstyle+xml"/>
  <Override PartName="/ppt/charts/style192.xml" ContentType="application/vnd.ms-office.chartstyle+xml"/>
  <Override PartName="/ppt/charts/style193.xml" ContentType="application/vnd.ms-office.chartstyle+xml"/>
  <Override PartName="/ppt/charts/style194.xml" ContentType="application/vnd.ms-office.chartstyle+xml"/>
  <Override PartName="/ppt/charts/style195.xml" ContentType="application/vnd.ms-office.chartstyle+xml"/>
  <Override PartName="/ppt/charts/style196.xml" ContentType="application/vnd.ms-office.chartstyle+xml"/>
  <Override PartName="/ppt/charts/style197.xml" ContentType="application/vnd.ms-office.chartstyle+xml"/>
  <Override PartName="/ppt/charts/style198.xml" ContentType="application/vnd.ms-office.chartstyle+xml"/>
  <Override PartName="/ppt/charts/style1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1.xml" ContentType="application/vnd.ms-office.chartstyle+xml"/>
  <Override PartName="/ppt/charts/style202.xml" ContentType="application/vnd.ms-office.chartstyle+xml"/>
  <Override PartName="/ppt/charts/style203.xml" ContentType="application/vnd.ms-office.chartstyle+xml"/>
  <Override PartName="/ppt/charts/style204.xml" ContentType="application/vnd.ms-office.chartstyle+xml"/>
  <Override PartName="/ppt/charts/style205.xml" ContentType="application/vnd.ms-office.chartstyle+xml"/>
  <Override PartName="/ppt/charts/style206.xml" ContentType="application/vnd.ms-office.chartstyle+xml"/>
  <Override PartName="/ppt/charts/style207.xml" ContentType="application/vnd.ms-office.chartstyle+xml"/>
  <Override PartName="/ppt/charts/style208.xml" ContentType="application/vnd.ms-office.chartstyle+xml"/>
  <Override PartName="/ppt/charts/style209.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34.xml" ContentType="application/vnd.ms-office.chartstyle+xml"/>
  <Override PartName="/ppt/charts/style235.xml" ContentType="application/vnd.ms-office.chartstyle+xml"/>
  <Override PartName="/ppt/charts/style236.xml" ContentType="application/vnd.ms-office.chartstyle+xml"/>
  <Override PartName="/ppt/charts/style237.xml" ContentType="application/vnd.ms-office.chartstyle+xml"/>
  <Override PartName="/ppt/charts/style238.xml" ContentType="application/vnd.ms-office.chartstyle+xml"/>
  <Override PartName="/ppt/charts/style239.xml" ContentType="application/vnd.ms-office.chartstyle+xml"/>
  <Override PartName="/ppt/charts/style24.xml" ContentType="application/vnd.ms-office.chartstyle+xml"/>
  <Override PartName="/ppt/charts/style240.xml" ContentType="application/vnd.ms-office.chartstyle+xml"/>
  <Override PartName="/ppt/charts/style241.xml" ContentType="application/vnd.ms-office.chartstyle+xml"/>
  <Override PartName="/ppt/charts/style242.xml" ContentType="application/vnd.ms-office.chartstyle+xml"/>
  <Override PartName="/ppt/charts/style243.xml" ContentType="application/vnd.ms-office.chartstyle+xml"/>
  <Override PartName="/ppt/charts/style244.xml" ContentType="application/vnd.ms-office.chartstyle+xml"/>
  <Override PartName="/ppt/charts/style245.xml" ContentType="application/vnd.ms-office.chartstyle+xml"/>
  <Override PartName="/ppt/charts/style246.xml" ContentType="application/vnd.ms-office.chartstyle+xml"/>
  <Override PartName="/ppt/charts/style247.xml" ContentType="application/vnd.ms-office.chartstyle+xml"/>
  <Override PartName="/ppt/charts/style248.xml" ContentType="application/vnd.ms-office.chartstyle+xml"/>
  <Override PartName="/ppt/charts/style249.xml" ContentType="application/vnd.ms-office.chartstyle+xml"/>
  <Override PartName="/ppt/charts/style25.xml" ContentType="application/vnd.ms-office.chartstyle+xml"/>
  <Override PartName="/ppt/charts/style250.xml" ContentType="application/vnd.ms-office.chartstyle+xml"/>
  <Override PartName="/ppt/charts/style251.xml" ContentType="application/vnd.ms-office.chartstyle+xml"/>
  <Override PartName="/ppt/charts/style252.xml" ContentType="application/vnd.ms-office.chartstyle+xml"/>
  <Override PartName="/ppt/charts/style253.xml" ContentType="application/vnd.ms-office.chartstyle+xml"/>
  <Override PartName="/ppt/charts/style254.xml" ContentType="application/vnd.ms-office.chartstyle+xml"/>
  <Override PartName="/ppt/charts/style255.xml" ContentType="application/vnd.ms-office.chartstyle+xml"/>
  <Override PartName="/ppt/charts/style256.xml" ContentType="application/vnd.ms-office.chartstyle+xml"/>
  <Override PartName="/ppt/charts/style257.xml" ContentType="application/vnd.ms-office.chartstyle+xml"/>
  <Override PartName="/ppt/charts/style258.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11.xml" ContentType="application/vnd.ms-office.chartstyle+xml"/>
  <Override PartName="/ppt/charts/style312.xml" ContentType="application/vnd.ms-office.chartstyle+xml"/>
  <Override PartName="/ppt/charts/style313.xml" ContentType="application/vnd.ms-office.chartstyle+xml"/>
  <Override PartName="/ppt/charts/style314.xml" ContentType="application/vnd.ms-office.chartstyle+xml"/>
  <Override PartName="/ppt/charts/style315.xml" ContentType="application/vnd.ms-office.chartstyle+xml"/>
  <Override PartName="/ppt/charts/style316.xml" ContentType="application/vnd.ms-office.chartstyle+xml"/>
  <Override PartName="/ppt/charts/style317.xml" ContentType="application/vnd.ms-office.chartstyle+xml"/>
  <Override PartName="/ppt/charts/style318.xml" ContentType="application/vnd.ms-office.chartstyle+xml"/>
  <Override PartName="/ppt/charts/style319.xml" ContentType="application/vnd.ms-office.chartstyle+xml"/>
  <Override PartName="/ppt/charts/style32.xml" ContentType="application/vnd.ms-office.chartstyle+xml"/>
  <Override PartName="/ppt/charts/style320.xml" ContentType="application/vnd.ms-office.chartstyle+xml"/>
  <Override PartName="/ppt/charts/style321.xml" ContentType="application/vnd.ms-office.chartstyle+xml"/>
  <Override PartName="/ppt/charts/style322.xml" ContentType="application/vnd.ms-office.chartstyle+xml"/>
  <Override PartName="/ppt/charts/style323.xml" ContentType="application/vnd.ms-office.chartstyle+xml"/>
  <Override PartName="/ppt/charts/style324.xml" ContentType="application/vnd.ms-office.chartstyle+xml"/>
  <Override PartName="/ppt/charts/style325.xml" ContentType="application/vnd.ms-office.chartstyle+xml"/>
  <Override PartName="/ppt/charts/style326.xml" ContentType="application/vnd.ms-office.chartstyle+xml"/>
  <Override PartName="/ppt/charts/style327.xml" ContentType="application/vnd.ms-office.chartstyle+xml"/>
  <Override PartName="/ppt/charts/style328.xml" ContentType="application/vnd.ms-office.chartstyle+xml"/>
  <Override PartName="/ppt/charts/style329.xml" ContentType="application/vnd.ms-office.chartstyle+xml"/>
  <Override PartName="/ppt/charts/style33.xml" ContentType="application/vnd.ms-office.chartstyle+xml"/>
  <Override PartName="/ppt/charts/style330.xml" ContentType="application/vnd.ms-office.chartstyle+xml"/>
  <Override PartName="/ppt/charts/style331.xml" ContentType="application/vnd.ms-office.chartstyle+xml"/>
  <Override PartName="/ppt/charts/style332.xml" ContentType="application/vnd.ms-office.chartstyle+xml"/>
  <Override PartName="/ppt/charts/style333.xml" ContentType="application/vnd.ms-office.chartstyle+xml"/>
  <Override PartName="/ppt/charts/style334.xml" ContentType="application/vnd.ms-office.chartstyle+xml"/>
  <Override PartName="/ppt/charts/style335.xml" ContentType="application/vnd.ms-office.chartstyle+xml"/>
  <Override PartName="/ppt/charts/style336.xml" ContentType="application/vnd.ms-office.chartstyle+xml"/>
  <Override PartName="/ppt/charts/style337.xml" ContentType="application/vnd.ms-office.chartstyle+xml"/>
  <Override PartName="/ppt/charts/style338.xml" ContentType="application/vnd.ms-office.chartstyle+xml"/>
  <Override PartName="/ppt/charts/style339.xml" ContentType="application/vnd.ms-office.chartstyle+xml"/>
  <Override PartName="/ppt/charts/style34.xml" ContentType="application/vnd.ms-office.chartstyle+xml"/>
  <Override PartName="/ppt/charts/style340.xml" ContentType="application/vnd.ms-office.chartstyle+xml"/>
  <Override PartName="/ppt/charts/style341.xml" ContentType="application/vnd.ms-office.chartstyle+xml"/>
  <Override PartName="/ppt/charts/style342.xml" ContentType="application/vnd.ms-office.chartstyle+xml"/>
  <Override PartName="/ppt/charts/style343.xml" ContentType="application/vnd.ms-office.chartstyle+xml"/>
  <Override PartName="/ppt/charts/style344.xml" ContentType="application/vnd.ms-office.chartstyle+xml"/>
  <Override PartName="/ppt/charts/style345.xml" ContentType="application/vnd.ms-office.chartstyle+xml"/>
  <Override PartName="/ppt/charts/style346.xml" ContentType="application/vnd.ms-office.chartstyle+xml"/>
  <Override PartName="/ppt/charts/style347.xml" ContentType="application/vnd.ms-office.chartstyle+xml"/>
  <Override PartName="/ppt/charts/style348.xml" ContentType="application/vnd.ms-office.chartstyle+xml"/>
  <Override PartName="/ppt/charts/style349.xml" ContentType="application/vnd.ms-office.chartstyle+xml"/>
  <Override PartName="/ppt/charts/style35.xml" ContentType="application/vnd.ms-office.chartstyle+xml"/>
  <Override PartName="/ppt/charts/style350.xml" ContentType="application/vnd.ms-office.chartstyle+xml"/>
  <Override PartName="/ppt/charts/style351.xml" ContentType="application/vnd.ms-office.chartstyle+xml"/>
  <Override PartName="/ppt/charts/style352.xml" ContentType="application/vnd.ms-office.chartstyle+xml"/>
  <Override PartName="/ppt/charts/style353.xml" ContentType="application/vnd.ms-office.chartstyle+xml"/>
  <Override PartName="/ppt/charts/style354.xml" ContentType="application/vnd.ms-office.chartstyle+xml"/>
  <Override PartName="/ppt/charts/style355.xml" ContentType="application/vnd.ms-office.chartstyle+xml"/>
  <Override PartName="/ppt/charts/style356.xml" ContentType="application/vnd.ms-office.chartstyle+xml"/>
  <Override PartName="/ppt/charts/style357.xml" ContentType="application/vnd.ms-office.chartstyle+xml"/>
  <Override PartName="/ppt/charts/style358.xml" ContentType="application/vnd.ms-office.chartstyle+xml"/>
  <Override PartName="/ppt/charts/style359.xml" ContentType="application/vnd.ms-office.chartstyle+xml"/>
  <Override PartName="/ppt/charts/style36.xml" ContentType="application/vnd.ms-office.chartstyle+xml"/>
  <Override PartName="/ppt/charts/style360.xml" ContentType="application/vnd.ms-office.chartstyle+xml"/>
  <Override PartName="/ppt/charts/style361.xml" ContentType="application/vnd.ms-office.chartstyle+xml"/>
  <Override PartName="/ppt/charts/style362.xml" ContentType="application/vnd.ms-office.chartstyle+xml"/>
  <Override PartName="/ppt/charts/style363.xml" ContentType="application/vnd.ms-office.chartstyle+xml"/>
  <Override PartName="/ppt/charts/style364.xml" ContentType="application/vnd.ms-office.chartstyle+xml"/>
  <Override PartName="/ppt/charts/style365.xml" ContentType="application/vnd.ms-office.chartstyle+xml"/>
  <Override PartName="/ppt/charts/style366.xml" ContentType="application/vnd.ms-office.chartstyle+xml"/>
  <Override PartName="/ppt/charts/style367.xml" ContentType="application/vnd.ms-office.chartstyle+xml"/>
  <Override PartName="/ppt/charts/style368.xml" ContentType="application/vnd.ms-office.chartstyle+xml"/>
  <Override PartName="/ppt/charts/style369.xml" ContentType="application/vnd.ms-office.chartstyle+xml"/>
  <Override PartName="/ppt/charts/style37.xml" ContentType="application/vnd.ms-office.chartstyle+xml"/>
  <Override PartName="/ppt/charts/style370.xml" ContentType="application/vnd.ms-office.chartstyle+xml"/>
  <Override PartName="/ppt/charts/style371.xml" ContentType="application/vnd.ms-office.chartstyle+xml"/>
  <Override PartName="/ppt/charts/style372.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notesSlides/notesSlide36.xml" ContentType="application/vnd.openxmlformats-officedocument.presentationml.notesSlide+xml"/>
  <Override PartName="/ppt/notesSlides/notesSlide360.xml" ContentType="application/vnd.openxmlformats-officedocument.presentationml.notesSlide+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notesSlides/notesSlide365.xml" ContentType="application/vnd.openxmlformats-officedocument.presentationml.notesSlide+xml"/>
  <Override PartName="/ppt/notesSlides/notesSlide366.xml" ContentType="application/vnd.openxmlformats-officedocument.presentationml.notesSlide+xml"/>
  <Override PartName="/ppt/notesSlides/notesSlide367.xml" ContentType="application/vnd.openxmlformats-officedocument.presentationml.notesSlide+xml"/>
  <Override PartName="/ppt/notesSlides/notesSlide368.xml" ContentType="application/vnd.openxmlformats-officedocument.presentationml.notesSlide+xml"/>
  <Override PartName="/ppt/notesSlides/notesSlide369.xml" ContentType="application/vnd.openxmlformats-officedocument.presentationml.notesSlide+xml"/>
  <Override PartName="/ppt/notesSlides/notesSlide37.xml" ContentType="application/vnd.openxmlformats-officedocument.presentationml.notesSlide+xml"/>
  <Override PartName="/ppt/notesSlides/notesSlide370.xml" ContentType="application/vnd.openxmlformats-officedocument.presentationml.notesSlide+xml"/>
  <Override PartName="/ppt/notesSlides/notesSlide371.xml" ContentType="application/vnd.openxmlformats-officedocument.presentationml.notesSlide+xml"/>
  <Override PartName="/ppt/notesSlides/notesSlide372.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37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 id="2147477633" r:id="rId273"/>
    <p:sldId id="2147477634" r:id="rId274"/>
    <p:sldId id="2147477635" r:id="rId275"/>
    <p:sldId id="2147477636" r:id="rId276"/>
    <p:sldId id="2147477637" r:id="rId277"/>
    <p:sldId id="2147477638" r:id="rId278"/>
    <p:sldId id="2147477639" r:id="rId279"/>
    <p:sldId id="2147477640" r:id="rId280"/>
    <p:sldId id="2147477641" r:id="rId281"/>
    <p:sldId id="2147477642" r:id="rId282"/>
    <p:sldId id="2147477643" r:id="rId283"/>
    <p:sldId id="2147477644" r:id="rId284"/>
    <p:sldId id="2147477645" r:id="rId285"/>
    <p:sldId id="2147477646" r:id="rId286"/>
    <p:sldId id="2147477647" r:id="rId287"/>
    <p:sldId id="2147477648" r:id="rId288"/>
    <p:sldId id="2147477649" r:id="rId289"/>
    <p:sldId id="2147477650" r:id="rId290"/>
    <p:sldId id="2147477651" r:id="rId291"/>
    <p:sldId id="2147477652" r:id="rId292"/>
    <p:sldId id="2147477653" r:id="rId293"/>
    <p:sldId id="2147477654" r:id="rId294"/>
    <p:sldId id="2147477655" r:id="rId295"/>
    <p:sldId id="2147477656" r:id="rId296"/>
    <p:sldId id="2147477657" r:id="rId297"/>
    <p:sldId id="2147477658" r:id="rId298"/>
    <p:sldId id="2147477659" r:id="rId299"/>
    <p:sldId id="2147477660" r:id="rId300"/>
    <p:sldId id="2147477661" r:id="rId301"/>
    <p:sldId id="2147477662" r:id="rId302"/>
    <p:sldId id="2147477663" r:id="rId303"/>
    <p:sldId id="2147477664" r:id="rId304"/>
    <p:sldId id="2147477665" r:id="rId305"/>
    <p:sldId id="2147477666" r:id="rId306"/>
    <p:sldId id="2147477667" r:id="rId307"/>
    <p:sldId id="2147477668" r:id="rId308"/>
    <p:sldId id="2147477669" r:id="rId309"/>
    <p:sldId id="2147477670" r:id="rId310"/>
    <p:sldId id="2147477671" r:id="rId311"/>
    <p:sldId id="2147477672" r:id="rId312"/>
    <p:sldId id="2147477673" r:id="rId313"/>
    <p:sldId id="2147477674" r:id="rId314"/>
    <p:sldId id="2147477675" r:id="rId315"/>
    <p:sldId id="2147477676" r:id="rId316"/>
    <p:sldId id="2147477677" r:id="rId317"/>
    <p:sldId id="2147477678" r:id="rId318"/>
    <p:sldId id="2147477679" r:id="rId319"/>
    <p:sldId id="2147477680" r:id="rId320"/>
    <p:sldId id="2147477681" r:id="rId321"/>
    <p:sldId id="2147477682" r:id="rId322"/>
    <p:sldId id="2147477683" r:id="rId323"/>
    <p:sldId id="2147477684" r:id="rId324"/>
    <p:sldId id="2147477685" r:id="rId325"/>
    <p:sldId id="2147477686" r:id="rId326"/>
    <p:sldId id="2147477687" r:id="rId327"/>
    <p:sldId id="2147477688" r:id="rId328"/>
    <p:sldId id="2147477689" r:id="rId329"/>
    <p:sldId id="2147477690" r:id="rId330"/>
    <p:sldId id="2147477691" r:id="rId331"/>
    <p:sldId id="2147477692" r:id="rId332"/>
    <p:sldId id="2147477693" r:id="rId333"/>
    <p:sldId id="2147477694" r:id="rId334"/>
    <p:sldId id="2147477695" r:id="rId335"/>
    <p:sldId id="2147477696" r:id="rId336"/>
    <p:sldId id="2147477697" r:id="rId337"/>
    <p:sldId id="2147477698" r:id="rId338"/>
    <p:sldId id="2147477699" r:id="rId339"/>
    <p:sldId id="2147477700" r:id="rId340"/>
    <p:sldId id="2147477701" r:id="rId341"/>
    <p:sldId id="2147477702" r:id="rId342"/>
    <p:sldId id="2147477703" r:id="rId343"/>
    <p:sldId id="2147477704" r:id="rId344"/>
    <p:sldId id="2147477705" r:id="rId345"/>
    <p:sldId id="2147477706" r:id="rId346"/>
    <p:sldId id="2147477707" r:id="rId347"/>
    <p:sldId id="2147477708" r:id="rId348"/>
    <p:sldId id="2147477709" r:id="rId349"/>
    <p:sldId id="2147477710" r:id="rId350"/>
    <p:sldId id="2147477711" r:id="rId351"/>
    <p:sldId id="2147477712" r:id="rId352"/>
    <p:sldId id="2147477713" r:id="rId353"/>
    <p:sldId id="2147477714" r:id="rId354"/>
    <p:sldId id="2147477715" r:id="rId355"/>
    <p:sldId id="2147477716" r:id="rId356"/>
    <p:sldId id="2147477717" r:id="rId357"/>
    <p:sldId id="2147477718" r:id="rId358"/>
    <p:sldId id="2147477719" r:id="rId359"/>
    <p:sldId id="2147477720" r:id="rId360"/>
    <p:sldId id="2147477721" r:id="rId361"/>
    <p:sldId id="2147477722" r:id="rId362"/>
    <p:sldId id="2147477723" r:id="rId363"/>
    <p:sldId id="2147477724" r:id="rId364"/>
    <p:sldId id="2147477725" r:id="rId365"/>
    <p:sldId id="2147477726" r:id="rId366"/>
    <p:sldId id="2147477727" r:id="rId367"/>
    <p:sldId id="2147477728" r:id="rId368"/>
    <p:sldId id="2147477729" r:id="rId369"/>
    <p:sldId id="2147477730" r:id="rId370"/>
    <p:sldId id="2147477731" r:id="rId371"/>
    <p:sldId id="2147477732" r:id="rId372"/>
    <p:sldId id="2147477733" r:id="rId373"/>
    <p:sldId id="2147477734" r:id="rId374"/>
    <p:sldId id="2147477735" r:id="rId375"/>
    <p:sldId id="2147477736" r:id="rId37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7A23FD20-B51D-49C3-81F7-A5195E0179B5}">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Lst>
        </p14:section>
        <p14:section name="Sector Shelf Price/Vol Comparison" id="{B767A7D5-4F04-4CA2-8832-D9C5D6BD7389}">
          <p14:sldIdLst>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Lst>
        </p14:section>
        <p14:section name="Segment Avg Price/Vol Comparison" id="{5C386361-7CC8-40B5-A212-53788EDB913C}">
          <p14:sldIdLst>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Lst>
        </p14:section>
        <p14:section name="Segment Shelf Price/Vol Comparison" id="{69D057F6-AA08-4367-9E31-46D13989D788}">
          <p14:sldIdLst>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Lst>
        </p14:section>
        <p14:section name="SubSegment Avg Price/Vol Comparison" id="{537F1DBA-F529-45F4-953F-8612AEA55624}">
          <p14:sldIdLst>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Lst>
        </p14:section>
        <p14:section name="SubSegment Shelf Price/Vol Comparison" id="{3E5E15AE-300E-48A3-ACD1-6A6F0C5682BD}">
          <p14:sldIdLst>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notesMaster" Target="notesMasters/notesMaster1.xml"/><Relationship Id="rId378" Type="http://schemas.openxmlformats.org/officeDocument/2006/relationships/presProps" Target="presProps.xml"/><Relationship Id="rId379" Type="http://schemas.openxmlformats.org/officeDocument/2006/relationships/viewProps" Target="viewProps.xml"/><Relationship Id="rId380" Type="http://schemas.openxmlformats.org/officeDocument/2006/relationships/theme" Target="theme/theme1.xml"/><Relationship Id="rId381" Type="http://schemas.openxmlformats.org/officeDocument/2006/relationships/tableStyles" Target="tableStyles.xml"/><Relationship Id="rId382"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microsoft.com/office/2011/relationships/chartStyle" Target="style127.xml"/><Relationship Id="rId2" Type="http://schemas.microsoft.com/office/2011/relationships/chartColorStyle" Target="colors127.xml"/><Relationship Id="rId3"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microsoft.com/office/2011/relationships/chartStyle" Target="style128.xml"/><Relationship Id="rId2" Type="http://schemas.microsoft.com/office/2011/relationships/chartColorStyle" Target="colors128.xml"/><Relationship Id="rId3"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microsoft.com/office/2011/relationships/chartStyle" Target="style131.xml"/><Relationship Id="rId2" Type="http://schemas.microsoft.com/office/2011/relationships/chartColorStyle" Target="colors131.xml"/><Relationship Id="rId3"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microsoft.com/office/2011/relationships/chartStyle" Target="style132.xml"/><Relationship Id="rId2" Type="http://schemas.microsoft.com/office/2011/relationships/chartColorStyle" Target="colors132.xml"/><Relationship Id="rId3"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microsoft.com/office/2011/relationships/chartStyle" Target="style133.xml"/><Relationship Id="rId2" Type="http://schemas.microsoft.com/office/2011/relationships/chartColorStyle" Target="colors133.xml"/><Relationship Id="rId3"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microsoft.com/office/2011/relationships/chartStyle" Target="style134.xml"/><Relationship Id="rId2" Type="http://schemas.microsoft.com/office/2011/relationships/chartColorStyle" Target="colors134.xml"/><Relationship Id="rId3"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microsoft.com/office/2011/relationships/chartStyle" Target="style135.xml"/><Relationship Id="rId2" Type="http://schemas.microsoft.com/office/2011/relationships/chartColorStyle" Target="colors135.xml"/><Relationship Id="rId3"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microsoft.com/office/2011/relationships/chartStyle" Target="style136.xml"/><Relationship Id="rId2" Type="http://schemas.microsoft.com/office/2011/relationships/chartColorStyle" Target="colors136.xml"/><Relationship Id="rId3"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microsoft.com/office/2011/relationships/chartStyle" Target="style137.xml"/><Relationship Id="rId2" Type="http://schemas.microsoft.com/office/2011/relationships/chartColorStyle" Target="colors137.xml"/><Relationship Id="rId3"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microsoft.com/office/2011/relationships/chartStyle" Target="style138.xml"/><Relationship Id="rId2" Type="http://schemas.microsoft.com/office/2011/relationships/chartColorStyle" Target="colors138.xml"/><Relationship Id="rId3"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microsoft.com/office/2011/relationships/chartStyle" Target="style139.xml"/><Relationship Id="rId2" Type="http://schemas.microsoft.com/office/2011/relationships/chartColorStyle" Target="colors139.xml"/><Relationship Id="rId3"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microsoft.com/office/2011/relationships/chartStyle" Target="style140.xml"/><Relationship Id="rId2" Type="http://schemas.microsoft.com/office/2011/relationships/chartColorStyle" Target="colors140.xml"/><Relationship Id="rId3"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microsoft.com/office/2011/relationships/chartStyle" Target="style141.xml"/><Relationship Id="rId2" Type="http://schemas.microsoft.com/office/2011/relationships/chartColorStyle" Target="colors141.xml"/><Relationship Id="rId3"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microsoft.com/office/2011/relationships/chartStyle" Target="style142.xml"/><Relationship Id="rId2" Type="http://schemas.microsoft.com/office/2011/relationships/chartColorStyle" Target="colors142.xml"/><Relationship Id="rId3"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microsoft.com/office/2011/relationships/chartStyle" Target="style143.xml"/><Relationship Id="rId2" Type="http://schemas.microsoft.com/office/2011/relationships/chartColorStyle" Target="colors143.xml"/><Relationship Id="rId3"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microsoft.com/office/2011/relationships/chartStyle" Target="style144.xml"/><Relationship Id="rId2" Type="http://schemas.microsoft.com/office/2011/relationships/chartColorStyle" Target="colors144.xml"/><Relationship Id="rId3"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microsoft.com/office/2011/relationships/chartStyle" Target="style145.xml"/><Relationship Id="rId2" Type="http://schemas.microsoft.com/office/2011/relationships/chartColorStyle" Target="colors145.xml"/><Relationship Id="rId3"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microsoft.com/office/2011/relationships/chartStyle" Target="style146.xml"/><Relationship Id="rId2" Type="http://schemas.microsoft.com/office/2011/relationships/chartColorStyle" Target="colors146.xml"/><Relationship Id="rId3"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microsoft.com/office/2011/relationships/chartStyle" Target="style147.xml"/><Relationship Id="rId2" Type="http://schemas.microsoft.com/office/2011/relationships/chartColorStyle" Target="colors147.xml"/><Relationship Id="rId3"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microsoft.com/office/2011/relationships/chartStyle" Target="style148.xml"/><Relationship Id="rId2" Type="http://schemas.microsoft.com/office/2011/relationships/chartColorStyle" Target="colors148.xml"/><Relationship Id="rId3"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microsoft.com/office/2011/relationships/chartStyle" Target="style149.xml"/><Relationship Id="rId2" Type="http://schemas.microsoft.com/office/2011/relationships/chartColorStyle" Target="colors149.xml"/><Relationship Id="rId3"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microsoft.com/office/2011/relationships/chartStyle" Target="style150.xml"/><Relationship Id="rId2" Type="http://schemas.microsoft.com/office/2011/relationships/chartColorStyle" Target="colors150.xml"/><Relationship Id="rId3"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microsoft.com/office/2011/relationships/chartStyle" Target="style151.xml"/><Relationship Id="rId2" Type="http://schemas.microsoft.com/office/2011/relationships/chartColorStyle" Target="colors151.xml"/><Relationship Id="rId3"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microsoft.com/office/2011/relationships/chartStyle" Target="style152.xml"/><Relationship Id="rId2" Type="http://schemas.microsoft.com/office/2011/relationships/chartColorStyle" Target="colors152.xml"/><Relationship Id="rId3"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microsoft.com/office/2011/relationships/chartStyle" Target="style153.xml"/><Relationship Id="rId2" Type="http://schemas.microsoft.com/office/2011/relationships/chartColorStyle" Target="colors153.xml"/><Relationship Id="rId3"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microsoft.com/office/2011/relationships/chartStyle" Target="style154.xml"/><Relationship Id="rId2" Type="http://schemas.microsoft.com/office/2011/relationships/chartColorStyle" Target="colors154.xml"/><Relationship Id="rId3"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microsoft.com/office/2011/relationships/chartStyle" Target="style155.xml"/><Relationship Id="rId2" Type="http://schemas.microsoft.com/office/2011/relationships/chartColorStyle" Target="colors155.xml"/><Relationship Id="rId3"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microsoft.com/office/2011/relationships/chartStyle" Target="style156.xml"/><Relationship Id="rId2" Type="http://schemas.microsoft.com/office/2011/relationships/chartColorStyle" Target="colors156.xml"/><Relationship Id="rId3"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microsoft.com/office/2011/relationships/chartStyle" Target="style157.xml"/><Relationship Id="rId2" Type="http://schemas.microsoft.com/office/2011/relationships/chartColorStyle" Target="colors157.xml"/><Relationship Id="rId3"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microsoft.com/office/2011/relationships/chartStyle" Target="style158.xml"/><Relationship Id="rId2" Type="http://schemas.microsoft.com/office/2011/relationships/chartColorStyle" Target="colors158.xml"/><Relationship Id="rId3"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microsoft.com/office/2011/relationships/chartStyle" Target="style159.xml"/><Relationship Id="rId2" Type="http://schemas.microsoft.com/office/2011/relationships/chartColorStyle" Target="colors159.xml"/><Relationship Id="rId3"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microsoft.com/office/2011/relationships/chartStyle" Target="style160.xml"/><Relationship Id="rId2" Type="http://schemas.microsoft.com/office/2011/relationships/chartColorStyle" Target="colors160.xml"/><Relationship Id="rId3"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microsoft.com/office/2011/relationships/chartStyle" Target="style161.xml"/><Relationship Id="rId2" Type="http://schemas.microsoft.com/office/2011/relationships/chartColorStyle" Target="colors161.xml"/><Relationship Id="rId3"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microsoft.com/office/2011/relationships/chartStyle" Target="style162.xml"/><Relationship Id="rId2" Type="http://schemas.microsoft.com/office/2011/relationships/chartColorStyle" Target="colors162.xml"/><Relationship Id="rId3"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microsoft.com/office/2011/relationships/chartStyle" Target="style163.xml"/><Relationship Id="rId2" Type="http://schemas.microsoft.com/office/2011/relationships/chartColorStyle" Target="colors163.xml"/><Relationship Id="rId3"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microsoft.com/office/2011/relationships/chartStyle" Target="style164.xml"/><Relationship Id="rId2" Type="http://schemas.microsoft.com/office/2011/relationships/chartColorStyle" Target="colors164.xml"/><Relationship Id="rId3"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microsoft.com/office/2011/relationships/chartStyle" Target="style165.xml"/><Relationship Id="rId2" Type="http://schemas.microsoft.com/office/2011/relationships/chartColorStyle" Target="colors165.xml"/><Relationship Id="rId3"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microsoft.com/office/2011/relationships/chartStyle" Target="style167.xml"/><Relationship Id="rId2" Type="http://schemas.microsoft.com/office/2011/relationships/chartColorStyle" Target="colors167.xml"/><Relationship Id="rId3"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microsoft.com/office/2011/relationships/chartStyle" Target="style168.xml"/><Relationship Id="rId2" Type="http://schemas.microsoft.com/office/2011/relationships/chartColorStyle" Target="colors168.xml"/><Relationship Id="rId3"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microsoft.com/office/2011/relationships/chartStyle" Target="style169.xml"/><Relationship Id="rId2" Type="http://schemas.microsoft.com/office/2011/relationships/chartColorStyle" Target="colors169.xml"/><Relationship Id="rId3"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microsoft.com/office/2011/relationships/chartStyle" Target="style170.xml"/><Relationship Id="rId2" Type="http://schemas.microsoft.com/office/2011/relationships/chartColorStyle" Target="colors170.xml"/><Relationship Id="rId3"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microsoft.com/office/2011/relationships/chartStyle" Target="style171.xml"/><Relationship Id="rId2" Type="http://schemas.microsoft.com/office/2011/relationships/chartColorStyle" Target="colors171.xml"/><Relationship Id="rId3"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microsoft.com/office/2011/relationships/chartStyle" Target="style172.xml"/><Relationship Id="rId2" Type="http://schemas.microsoft.com/office/2011/relationships/chartColorStyle" Target="colors172.xml"/><Relationship Id="rId3"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microsoft.com/office/2011/relationships/chartStyle" Target="style173.xml"/><Relationship Id="rId2" Type="http://schemas.microsoft.com/office/2011/relationships/chartColorStyle" Target="colors173.xml"/><Relationship Id="rId3"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microsoft.com/office/2011/relationships/chartStyle" Target="style174.xml"/><Relationship Id="rId2" Type="http://schemas.microsoft.com/office/2011/relationships/chartColorStyle" Target="colors174.xml"/><Relationship Id="rId3"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microsoft.com/office/2011/relationships/chartStyle" Target="style175.xml"/><Relationship Id="rId2" Type="http://schemas.microsoft.com/office/2011/relationships/chartColorStyle" Target="colors175.xml"/><Relationship Id="rId3"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microsoft.com/office/2011/relationships/chartStyle" Target="style176.xml"/><Relationship Id="rId2" Type="http://schemas.microsoft.com/office/2011/relationships/chartColorStyle" Target="colors176.xml"/><Relationship Id="rId3"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microsoft.com/office/2011/relationships/chartStyle" Target="style177.xml"/><Relationship Id="rId2" Type="http://schemas.microsoft.com/office/2011/relationships/chartColorStyle" Target="colors177.xml"/><Relationship Id="rId3"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microsoft.com/office/2011/relationships/chartStyle" Target="style178.xml"/><Relationship Id="rId2" Type="http://schemas.microsoft.com/office/2011/relationships/chartColorStyle" Target="colors178.xml"/><Relationship Id="rId3"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microsoft.com/office/2011/relationships/chartStyle" Target="style179.xml"/><Relationship Id="rId2" Type="http://schemas.microsoft.com/office/2011/relationships/chartColorStyle" Target="colors179.xml"/><Relationship Id="rId3"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microsoft.com/office/2011/relationships/chartStyle" Target="style180.xml"/><Relationship Id="rId2" Type="http://schemas.microsoft.com/office/2011/relationships/chartColorStyle" Target="colors180.xml"/><Relationship Id="rId3"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microsoft.com/office/2011/relationships/chartStyle" Target="style181.xml"/><Relationship Id="rId2" Type="http://schemas.microsoft.com/office/2011/relationships/chartColorStyle" Target="colors181.xml"/><Relationship Id="rId3"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microsoft.com/office/2011/relationships/chartStyle" Target="style182.xml"/><Relationship Id="rId2" Type="http://schemas.microsoft.com/office/2011/relationships/chartColorStyle" Target="colors182.xml"/><Relationship Id="rId3"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microsoft.com/office/2011/relationships/chartStyle" Target="style183.xml"/><Relationship Id="rId2" Type="http://schemas.microsoft.com/office/2011/relationships/chartColorStyle" Target="colors183.xml"/><Relationship Id="rId3"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microsoft.com/office/2011/relationships/chartStyle" Target="style184.xml"/><Relationship Id="rId2" Type="http://schemas.microsoft.com/office/2011/relationships/chartColorStyle" Target="colors184.xml"/><Relationship Id="rId3"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microsoft.com/office/2011/relationships/chartStyle" Target="style185.xml"/><Relationship Id="rId2" Type="http://schemas.microsoft.com/office/2011/relationships/chartColorStyle" Target="colors185.xml"/><Relationship Id="rId3"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microsoft.com/office/2011/relationships/chartStyle" Target="style186.xml"/><Relationship Id="rId2" Type="http://schemas.microsoft.com/office/2011/relationships/chartColorStyle" Target="colors186.xml"/><Relationship Id="rId3"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microsoft.com/office/2011/relationships/chartStyle" Target="style187.xml"/><Relationship Id="rId2" Type="http://schemas.microsoft.com/office/2011/relationships/chartColorStyle" Target="colors187.xml"/><Relationship Id="rId3"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microsoft.com/office/2011/relationships/chartStyle" Target="style188.xml"/><Relationship Id="rId2" Type="http://schemas.microsoft.com/office/2011/relationships/chartColorStyle" Target="colors188.xml"/><Relationship Id="rId3"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microsoft.com/office/2011/relationships/chartStyle" Target="style189.xml"/><Relationship Id="rId2" Type="http://schemas.microsoft.com/office/2011/relationships/chartColorStyle" Target="colors189.xml"/><Relationship Id="rId3"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microsoft.com/office/2011/relationships/chartStyle" Target="style190.xml"/><Relationship Id="rId2" Type="http://schemas.microsoft.com/office/2011/relationships/chartColorStyle" Target="colors190.xml"/><Relationship Id="rId3"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microsoft.com/office/2011/relationships/chartStyle" Target="style191.xml"/><Relationship Id="rId2" Type="http://schemas.microsoft.com/office/2011/relationships/chartColorStyle" Target="colors191.xml"/><Relationship Id="rId3"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microsoft.com/office/2011/relationships/chartStyle" Target="style192.xml"/><Relationship Id="rId2" Type="http://schemas.microsoft.com/office/2011/relationships/chartColorStyle" Target="colors192.xml"/><Relationship Id="rId3"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microsoft.com/office/2011/relationships/chartStyle" Target="style193.xml"/><Relationship Id="rId2" Type="http://schemas.microsoft.com/office/2011/relationships/chartColorStyle" Target="colors193.xml"/><Relationship Id="rId3"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microsoft.com/office/2011/relationships/chartStyle" Target="style194.xml"/><Relationship Id="rId2" Type="http://schemas.microsoft.com/office/2011/relationships/chartColorStyle" Target="colors194.xml"/><Relationship Id="rId3"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microsoft.com/office/2011/relationships/chartStyle" Target="style195.xml"/><Relationship Id="rId2" Type="http://schemas.microsoft.com/office/2011/relationships/chartColorStyle" Target="colors195.xml"/><Relationship Id="rId3"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microsoft.com/office/2011/relationships/chartStyle" Target="style196.xml"/><Relationship Id="rId2" Type="http://schemas.microsoft.com/office/2011/relationships/chartColorStyle" Target="colors196.xml"/><Relationship Id="rId3"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microsoft.com/office/2011/relationships/chartStyle" Target="style197.xml"/><Relationship Id="rId2" Type="http://schemas.microsoft.com/office/2011/relationships/chartColorStyle" Target="colors197.xml"/><Relationship Id="rId3"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microsoft.com/office/2011/relationships/chartStyle" Target="style198.xml"/><Relationship Id="rId2" Type="http://schemas.microsoft.com/office/2011/relationships/chartColorStyle" Target="colors198.xml"/><Relationship Id="rId3"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microsoft.com/office/2011/relationships/chartStyle" Target="style199.xml"/><Relationship Id="rId2" Type="http://schemas.microsoft.com/office/2011/relationships/chartColorStyle" Target="colors199.xml"/><Relationship Id="rId3"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microsoft.com/office/2011/relationships/chartStyle" Target="style200.xml"/><Relationship Id="rId2" Type="http://schemas.microsoft.com/office/2011/relationships/chartColorStyle" Target="colors200.xml"/><Relationship Id="rId3"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microsoft.com/office/2011/relationships/chartStyle" Target="style201.xml"/><Relationship Id="rId2" Type="http://schemas.microsoft.com/office/2011/relationships/chartColorStyle" Target="colors201.xml"/><Relationship Id="rId3"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microsoft.com/office/2011/relationships/chartStyle" Target="style202.xml"/><Relationship Id="rId2" Type="http://schemas.microsoft.com/office/2011/relationships/chartColorStyle" Target="colors202.xml"/><Relationship Id="rId3"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microsoft.com/office/2011/relationships/chartStyle" Target="style203.xml"/><Relationship Id="rId2" Type="http://schemas.microsoft.com/office/2011/relationships/chartColorStyle" Target="colors203.xml"/><Relationship Id="rId3"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microsoft.com/office/2011/relationships/chartStyle" Target="style204.xml"/><Relationship Id="rId2" Type="http://schemas.microsoft.com/office/2011/relationships/chartColorStyle" Target="colors204.xml"/><Relationship Id="rId3"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microsoft.com/office/2011/relationships/chartStyle" Target="style205.xml"/><Relationship Id="rId2" Type="http://schemas.microsoft.com/office/2011/relationships/chartColorStyle" Target="colors205.xml"/><Relationship Id="rId3"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microsoft.com/office/2011/relationships/chartStyle" Target="style206.xml"/><Relationship Id="rId2" Type="http://schemas.microsoft.com/office/2011/relationships/chartColorStyle" Target="colors206.xml"/><Relationship Id="rId3"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microsoft.com/office/2011/relationships/chartStyle" Target="style207.xml"/><Relationship Id="rId2" Type="http://schemas.microsoft.com/office/2011/relationships/chartColorStyle" Target="colors207.xml"/><Relationship Id="rId3"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microsoft.com/office/2011/relationships/chartStyle" Target="style208.xml"/><Relationship Id="rId2" Type="http://schemas.microsoft.com/office/2011/relationships/chartColorStyle" Target="colors208.xml"/><Relationship Id="rId3"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microsoft.com/office/2011/relationships/chartStyle" Target="style209.xml"/><Relationship Id="rId2" Type="http://schemas.microsoft.com/office/2011/relationships/chartColorStyle" Target="colors209.xml"/><Relationship Id="rId3"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microsoft.com/office/2011/relationships/chartStyle" Target="style210.xml"/><Relationship Id="rId2" Type="http://schemas.microsoft.com/office/2011/relationships/chartColorStyle" Target="colors210.xml"/><Relationship Id="rId3"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microsoft.com/office/2011/relationships/chartStyle" Target="style211.xml"/><Relationship Id="rId2" Type="http://schemas.microsoft.com/office/2011/relationships/chartColorStyle" Target="colors211.xml"/><Relationship Id="rId3"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microsoft.com/office/2011/relationships/chartStyle" Target="style212.xml"/><Relationship Id="rId2" Type="http://schemas.microsoft.com/office/2011/relationships/chartColorStyle" Target="colors212.xml"/><Relationship Id="rId3"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microsoft.com/office/2011/relationships/chartStyle" Target="style213.xml"/><Relationship Id="rId2" Type="http://schemas.microsoft.com/office/2011/relationships/chartColorStyle" Target="colors213.xml"/><Relationship Id="rId3"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microsoft.com/office/2011/relationships/chartStyle" Target="style214.xml"/><Relationship Id="rId2" Type="http://schemas.microsoft.com/office/2011/relationships/chartColorStyle" Target="colors214.xml"/><Relationship Id="rId3"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microsoft.com/office/2011/relationships/chartStyle" Target="style215.xml"/><Relationship Id="rId2" Type="http://schemas.microsoft.com/office/2011/relationships/chartColorStyle" Target="colors215.xml"/><Relationship Id="rId3"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microsoft.com/office/2011/relationships/chartStyle" Target="style216.xml"/><Relationship Id="rId2" Type="http://schemas.microsoft.com/office/2011/relationships/chartColorStyle" Target="colors216.xml"/><Relationship Id="rId3"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microsoft.com/office/2011/relationships/chartStyle" Target="style217.xml"/><Relationship Id="rId2" Type="http://schemas.microsoft.com/office/2011/relationships/chartColorStyle" Target="colors217.xml"/><Relationship Id="rId3"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microsoft.com/office/2011/relationships/chartStyle" Target="style218.xml"/><Relationship Id="rId2" Type="http://schemas.microsoft.com/office/2011/relationships/chartColorStyle" Target="colors218.xml"/><Relationship Id="rId3"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microsoft.com/office/2011/relationships/chartStyle" Target="style219.xml"/><Relationship Id="rId2" Type="http://schemas.microsoft.com/office/2011/relationships/chartColorStyle" Target="colors219.xml"/><Relationship Id="rId3"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microsoft.com/office/2011/relationships/chartStyle" Target="style220.xml"/><Relationship Id="rId2" Type="http://schemas.microsoft.com/office/2011/relationships/chartColorStyle" Target="colors220.xml"/><Relationship Id="rId3"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microsoft.com/office/2011/relationships/chartStyle" Target="style221.xml"/><Relationship Id="rId2" Type="http://schemas.microsoft.com/office/2011/relationships/chartColorStyle" Target="colors221.xml"/><Relationship Id="rId3"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microsoft.com/office/2011/relationships/chartStyle" Target="style222.xml"/><Relationship Id="rId2" Type="http://schemas.microsoft.com/office/2011/relationships/chartColorStyle" Target="colors222.xml"/><Relationship Id="rId3"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microsoft.com/office/2011/relationships/chartStyle" Target="style223.xml"/><Relationship Id="rId2" Type="http://schemas.microsoft.com/office/2011/relationships/chartColorStyle" Target="colors223.xml"/><Relationship Id="rId3"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microsoft.com/office/2011/relationships/chartStyle" Target="style224.xml"/><Relationship Id="rId2" Type="http://schemas.microsoft.com/office/2011/relationships/chartColorStyle" Target="colors224.xml"/><Relationship Id="rId3"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microsoft.com/office/2011/relationships/chartStyle" Target="style225.xml"/><Relationship Id="rId2" Type="http://schemas.microsoft.com/office/2011/relationships/chartColorStyle" Target="colors225.xml"/><Relationship Id="rId3"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microsoft.com/office/2011/relationships/chartStyle" Target="style226.xml"/><Relationship Id="rId2" Type="http://schemas.microsoft.com/office/2011/relationships/chartColorStyle" Target="colors226.xml"/><Relationship Id="rId3"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microsoft.com/office/2011/relationships/chartStyle" Target="style227.xml"/><Relationship Id="rId2" Type="http://schemas.microsoft.com/office/2011/relationships/chartColorStyle" Target="colors227.xml"/><Relationship Id="rId3"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microsoft.com/office/2011/relationships/chartStyle" Target="style228.xml"/><Relationship Id="rId2" Type="http://schemas.microsoft.com/office/2011/relationships/chartColorStyle" Target="colors228.xml"/><Relationship Id="rId3"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microsoft.com/office/2011/relationships/chartStyle" Target="style229.xml"/><Relationship Id="rId2" Type="http://schemas.microsoft.com/office/2011/relationships/chartColorStyle" Target="colors229.xml"/><Relationship Id="rId3"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microsoft.com/office/2011/relationships/chartStyle" Target="style230.xml"/><Relationship Id="rId2" Type="http://schemas.microsoft.com/office/2011/relationships/chartColorStyle" Target="colors230.xml"/><Relationship Id="rId3"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microsoft.com/office/2011/relationships/chartStyle" Target="style231.xml"/><Relationship Id="rId2" Type="http://schemas.microsoft.com/office/2011/relationships/chartColorStyle" Target="colors231.xml"/><Relationship Id="rId3"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microsoft.com/office/2011/relationships/chartStyle" Target="style232.xml"/><Relationship Id="rId2" Type="http://schemas.microsoft.com/office/2011/relationships/chartColorStyle" Target="colors232.xml"/><Relationship Id="rId3"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microsoft.com/office/2011/relationships/chartStyle" Target="style233.xml"/><Relationship Id="rId2" Type="http://schemas.microsoft.com/office/2011/relationships/chartColorStyle" Target="colors233.xml"/><Relationship Id="rId3"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microsoft.com/office/2011/relationships/chartStyle" Target="style234.xml"/><Relationship Id="rId2" Type="http://schemas.microsoft.com/office/2011/relationships/chartColorStyle" Target="colors234.xml"/><Relationship Id="rId3"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microsoft.com/office/2011/relationships/chartStyle" Target="style235.xml"/><Relationship Id="rId2" Type="http://schemas.microsoft.com/office/2011/relationships/chartColorStyle" Target="colors235.xml"/><Relationship Id="rId3"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microsoft.com/office/2011/relationships/chartStyle" Target="style236.xml"/><Relationship Id="rId2" Type="http://schemas.microsoft.com/office/2011/relationships/chartColorStyle" Target="colors236.xml"/><Relationship Id="rId3"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microsoft.com/office/2011/relationships/chartStyle" Target="style237.xml"/><Relationship Id="rId2" Type="http://schemas.microsoft.com/office/2011/relationships/chartColorStyle" Target="colors237.xml"/><Relationship Id="rId3"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microsoft.com/office/2011/relationships/chartStyle" Target="style238.xml"/><Relationship Id="rId2" Type="http://schemas.microsoft.com/office/2011/relationships/chartColorStyle" Target="colors238.xml"/><Relationship Id="rId3"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microsoft.com/office/2011/relationships/chartStyle" Target="style239.xml"/><Relationship Id="rId2" Type="http://schemas.microsoft.com/office/2011/relationships/chartColorStyle" Target="colors239.xml"/><Relationship Id="rId3"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microsoft.com/office/2011/relationships/chartStyle" Target="style240.xml"/><Relationship Id="rId2" Type="http://schemas.microsoft.com/office/2011/relationships/chartColorStyle" Target="colors240.xml"/><Relationship Id="rId3"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microsoft.com/office/2011/relationships/chartStyle" Target="style241.xml"/><Relationship Id="rId2" Type="http://schemas.microsoft.com/office/2011/relationships/chartColorStyle" Target="colors241.xml"/><Relationship Id="rId3"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microsoft.com/office/2011/relationships/chartStyle" Target="style242.xml"/><Relationship Id="rId2" Type="http://schemas.microsoft.com/office/2011/relationships/chartColorStyle" Target="colors242.xml"/><Relationship Id="rId3"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microsoft.com/office/2011/relationships/chartStyle" Target="style243.xml"/><Relationship Id="rId2" Type="http://schemas.microsoft.com/office/2011/relationships/chartColorStyle" Target="colors243.xml"/><Relationship Id="rId3"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microsoft.com/office/2011/relationships/chartStyle" Target="style244.xml"/><Relationship Id="rId2" Type="http://schemas.microsoft.com/office/2011/relationships/chartColorStyle" Target="colors244.xml"/><Relationship Id="rId3"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microsoft.com/office/2011/relationships/chartStyle" Target="style245.xml"/><Relationship Id="rId2" Type="http://schemas.microsoft.com/office/2011/relationships/chartColorStyle" Target="colors245.xml"/><Relationship Id="rId3"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microsoft.com/office/2011/relationships/chartStyle" Target="style246.xml"/><Relationship Id="rId2" Type="http://schemas.microsoft.com/office/2011/relationships/chartColorStyle" Target="colors246.xml"/><Relationship Id="rId3"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microsoft.com/office/2011/relationships/chartStyle" Target="style247.xml"/><Relationship Id="rId2" Type="http://schemas.microsoft.com/office/2011/relationships/chartColorStyle" Target="colors247.xml"/><Relationship Id="rId3"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microsoft.com/office/2011/relationships/chartStyle" Target="style248.xml"/><Relationship Id="rId2" Type="http://schemas.microsoft.com/office/2011/relationships/chartColorStyle" Target="colors248.xml"/><Relationship Id="rId3"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microsoft.com/office/2011/relationships/chartStyle" Target="style249.xml"/><Relationship Id="rId2" Type="http://schemas.microsoft.com/office/2011/relationships/chartColorStyle" Target="colors249.xml"/><Relationship Id="rId3"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microsoft.com/office/2011/relationships/chartStyle" Target="style250.xml"/><Relationship Id="rId2" Type="http://schemas.microsoft.com/office/2011/relationships/chartColorStyle" Target="colors250.xml"/><Relationship Id="rId3"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microsoft.com/office/2011/relationships/chartStyle" Target="style251.xml"/><Relationship Id="rId2" Type="http://schemas.microsoft.com/office/2011/relationships/chartColorStyle" Target="colors251.xml"/><Relationship Id="rId3"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microsoft.com/office/2011/relationships/chartStyle" Target="style252.xml"/><Relationship Id="rId2" Type="http://schemas.microsoft.com/office/2011/relationships/chartColorStyle" Target="colors252.xml"/><Relationship Id="rId3"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microsoft.com/office/2011/relationships/chartStyle" Target="style253.xml"/><Relationship Id="rId2" Type="http://schemas.microsoft.com/office/2011/relationships/chartColorStyle" Target="colors253.xml"/><Relationship Id="rId3"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microsoft.com/office/2011/relationships/chartStyle" Target="style254.xml"/><Relationship Id="rId2" Type="http://schemas.microsoft.com/office/2011/relationships/chartColorStyle" Target="colors254.xml"/><Relationship Id="rId3"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microsoft.com/office/2011/relationships/chartStyle" Target="style255.xml"/><Relationship Id="rId2" Type="http://schemas.microsoft.com/office/2011/relationships/chartColorStyle" Target="colors255.xml"/><Relationship Id="rId3"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microsoft.com/office/2011/relationships/chartStyle" Target="style256.xml"/><Relationship Id="rId2" Type="http://schemas.microsoft.com/office/2011/relationships/chartColorStyle" Target="colors256.xml"/><Relationship Id="rId3"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microsoft.com/office/2011/relationships/chartStyle" Target="style257.xml"/><Relationship Id="rId2" Type="http://schemas.microsoft.com/office/2011/relationships/chartColorStyle" Target="colors257.xml"/><Relationship Id="rId3"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microsoft.com/office/2011/relationships/chartStyle" Target="style258.xml"/><Relationship Id="rId2" Type="http://schemas.microsoft.com/office/2011/relationships/chartColorStyle" Target="colors258.xml"/><Relationship Id="rId3"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microsoft.com/office/2011/relationships/chartStyle" Target="style259.xml"/><Relationship Id="rId2" Type="http://schemas.microsoft.com/office/2011/relationships/chartColorStyle" Target="colors259.xml"/><Relationship Id="rId3"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microsoft.com/office/2011/relationships/chartStyle" Target="style260.xml"/><Relationship Id="rId2" Type="http://schemas.microsoft.com/office/2011/relationships/chartColorStyle" Target="colors260.xml"/><Relationship Id="rId3"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microsoft.com/office/2011/relationships/chartStyle" Target="style261.xml"/><Relationship Id="rId2" Type="http://schemas.microsoft.com/office/2011/relationships/chartColorStyle" Target="colors261.xml"/><Relationship Id="rId3"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microsoft.com/office/2011/relationships/chartStyle" Target="style262.xml"/><Relationship Id="rId2" Type="http://schemas.microsoft.com/office/2011/relationships/chartColorStyle" Target="colors262.xml"/><Relationship Id="rId3"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microsoft.com/office/2011/relationships/chartStyle" Target="style263.xml"/><Relationship Id="rId2" Type="http://schemas.microsoft.com/office/2011/relationships/chartColorStyle" Target="colors263.xml"/><Relationship Id="rId3"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microsoft.com/office/2011/relationships/chartStyle" Target="style264.xml"/><Relationship Id="rId2" Type="http://schemas.microsoft.com/office/2011/relationships/chartColorStyle" Target="colors264.xml"/><Relationship Id="rId3"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microsoft.com/office/2011/relationships/chartStyle" Target="style265.xml"/><Relationship Id="rId2" Type="http://schemas.microsoft.com/office/2011/relationships/chartColorStyle" Target="colors265.xml"/><Relationship Id="rId3"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microsoft.com/office/2011/relationships/chartStyle" Target="style266.xml"/><Relationship Id="rId2" Type="http://schemas.microsoft.com/office/2011/relationships/chartColorStyle" Target="colors266.xml"/><Relationship Id="rId3"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microsoft.com/office/2011/relationships/chartStyle" Target="style267.xml"/><Relationship Id="rId2" Type="http://schemas.microsoft.com/office/2011/relationships/chartColorStyle" Target="colors267.xml"/><Relationship Id="rId3"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microsoft.com/office/2011/relationships/chartStyle" Target="style268.xml"/><Relationship Id="rId2" Type="http://schemas.microsoft.com/office/2011/relationships/chartColorStyle" Target="colors268.xml"/><Relationship Id="rId3"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microsoft.com/office/2011/relationships/chartStyle" Target="style269.xml"/><Relationship Id="rId2" Type="http://schemas.microsoft.com/office/2011/relationships/chartColorStyle" Target="colors269.xml"/><Relationship Id="rId3"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microsoft.com/office/2011/relationships/chartStyle" Target="style270.xml"/><Relationship Id="rId2" Type="http://schemas.microsoft.com/office/2011/relationships/chartColorStyle" Target="colors270.xml"/><Relationship Id="rId3"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microsoft.com/office/2011/relationships/chartStyle" Target="style271.xml"/><Relationship Id="rId2" Type="http://schemas.microsoft.com/office/2011/relationships/chartColorStyle" Target="colors271.xml"/><Relationship Id="rId3"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microsoft.com/office/2011/relationships/chartStyle" Target="style272.xml"/><Relationship Id="rId2" Type="http://schemas.microsoft.com/office/2011/relationships/chartColorStyle" Target="colors272.xml"/><Relationship Id="rId3"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microsoft.com/office/2011/relationships/chartStyle" Target="style273.xml"/><Relationship Id="rId2" Type="http://schemas.microsoft.com/office/2011/relationships/chartColorStyle" Target="colors273.xml"/><Relationship Id="rId3"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microsoft.com/office/2011/relationships/chartStyle" Target="style274.xml"/><Relationship Id="rId2" Type="http://schemas.microsoft.com/office/2011/relationships/chartColorStyle" Target="colors274.xml"/><Relationship Id="rId3"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microsoft.com/office/2011/relationships/chartStyle" Target="style275.xml"/><Relationship Id="rId2" Type="http://schemas.microsoft.com/office/2011/relationships/chartColorStyle" Target="colors275.xml"/><Relationship Id="rId3"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microsoft.com/office/2011/relationships/chartStyle" Target="style276.xml"/><Relationship Id="rId2" Type="http://schemas.microsoft.com/office/2011/relationships/chartColorStyle" Target="colors276.xml"/><Relationship Id="rId3"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microsoft.com/office/2011/relationships/chartStyle" Target="style277.xml"/><Relationship Id="rId2" Type="http://schemas.microsoft.com/office/2011/relationships/chartColorStyle" Target="colors277.xml"/><Relationship Id="rId3"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microsoft.com/office/2011/relationships/chartStyle" Target="style278.xml"/><Relationship Id="rId2" Type="http://schemas.microsoft.com/office/2011/relationships/chartColorStyle" Target="colors278.xml"/><Relationship Id="rId3"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microsoft.com/office/2011/relationships/chartStyle" Target="style279.xml"/><Relationship Id="rId2" Type="http://schemas.microsoft.com/office/2011/relationships/chartColorStyle" Target="colors279.xml"/><Relationship Id="rId3"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microsoft.com/office/2011/relationships/chartStyle" Target="style280.xml"/><Relationship Id="rId2" Type="http://schemas.microsoft.com/office/2011/relationships/chartColorStyle" Target="colors280.xml"/><Relationship Id="rId3"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microsoft.com/office/2011/relationships/chartStyle" Target="style281.xml"/><Relationship Id="rId2" Type="http://schemas.microsoft.com/office/2011/relationships/chartColorStyle" Target="colors281.xml"/><Relationship Id="rId3"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microsoft.com/office/2011/relationships/chartStyle" Target="style282.xml"/><Relationship Id="rId2" Type="http://schemas.microsoft.com/office/2011/relationships/chartColorStyle" Target="colors282.xml"/><Relationship Id="rId3"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microsoft.com/office/2011/relationships/chartStyle" Target="style283.xml"/><Relationship Id="rId2" Type="http://schemas.microsoft.com/office/2011/relationships/chartColorStyle" Target="colors283.xml"/><Relationship Id="rId3"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microsoft.com/office/2011/relationships/chartStyle" Target="style284.xml"/><Relationship Id="rId2" Type="http://schemas.microsoft.com/office/2011/relationships/chartColorStyle" Target="colors284.xml"/><Relationship Id="rId3"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microsoft.com/office/2011/relationships/chartStyle" Target="style285.xml"/><Relationship Id="rId2" Type="http://schemas.microsoft.com/office/2011/relationships/chartColorStyle" Target="colors285.xml"/><Relationship Id="rId3"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microsoft.com/office/2011/relationships/chartStyle" Target="style286.xml"/><Relationship Id="rId2" Type="http://schemas.microsoft.com/office/2011/relationships/chartColorStyle" Target="colors286.xml"/><Relationship Id="rId3"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microsoft.com/office/2011/relationships/chartStyle" Target="style287.xml"/><Relationship Id="rId2" Type="http://schemas.microsoft.com/office/2011/relationships/chartColorStyle" Target="colors287.xml"/><Relationship Id="rId3"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microsoft.com/office/2011/relationships/chartStyle" Target="style288.xml"/><Relationship Id="rId2" Type="http://schemas.microsoft.com/office/2011/relationships/chartColorStyle" Target="colors288.xml"/><Relationship Id="rId3"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microsoft.com/office/2011/relationships/chartStyle" Target="style289.xml"/><Relationship Id="rId2" Type="http://schemas.microsoft.com/office/2011/relationships/chartColorStyle" Target="colors289.xml"/><Relationship Id="rId3"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microsoft.com/office/2011/relationships/chartStyle" Target="style290.xml"/><Relationship Id="rId2" Type="http://schemas.microsoft.com/office/2011/relationships/chartColorStyle" Target="colors290.xml"/><Relationship Id="rId3"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microsoft.com/office/2011/relationships/chartStyle" Target="style291.xml"/><Relationship Id="rId2" Type="http://schemas.microsoft.com/office/2011/relationships/chartColorStyle" Target="colors291.xml"/><Relationship Id="rId3"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microsoft.com/office/2011/relationships/chartStyle" Target="style292.xml"/><Relationship Id="rId2" Type="http://schemas.microsoft.com/office/2011/relationships/chartColorStyle" Target="colors292.xml"/><Relationship Id="rId3"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microsoft.com/office/2011/relationships/chartStyle" Target="style293.xml"/><Relationship Id="rId2" Type="http://schemas.microsoft.com/office/2011/relationships/chartColorStyle" Target="colors293.xml"/><Relationship Id="rId3"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microsoft.com/office/2011/relationships/chartStyle" Target="style294.xml"/><Relationship Id="rId2" Type="http://schemas.microsoft.com/office/2011/relationships/chartColorStyle" Target="colors294.xml"/><Relationship Id="rId3"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microsoft.com/office/2011/relationships/chartStyle" Target="style295.xml"/><Relationship Id="rId2" Type="http://schemas.microsoft.com/office/2011/relationships/chartColorStyle" Target="colors295.xml"/><Relationship Id="rId3"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microsoft.com/office/2011/relationships/chartStyle" Target="style296.xml"/><Relationship Id="rId2" Type="http://schemas.microsoft.com/office/2011/relationships/chartColorStyle" Target="colors296.xml"/><Relationship Id="rId3"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microsoft.com/office/2011/relationships/chartStyle" Target="style297.xml"/><Relationship Id="rId2" Type="http://schemas.microsoft.com/office/2011/relationships/chartColorStyle" Target="colors297.xml"/><Relationship Id="rId3"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microsoft.com/office/2011/relationships/chartStyle" Target="style298.xml"/><Relationship Id="rId2" Type="http://schemas.microsoft.com/office/2011/relationships/chartColorStyle" Target="colors298.xml"/><Relationship Id="rId3"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microsoft.com/office/2011/relationships/chartStyle" Target="style299.xml"/><Relationship Id="rId2" Type="http://schemas.microsoft.com/office/2011/relationships/chartColorStyle" Target="colors299.xml"/><Relationship Id="rId3"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microsoft.com/office/2011/relationships/chartStyle" Target="style300.xml"/><Relationship Id="rId2" Type="http://schemas.microsoft.com/office/2011/relationships/chartColorStyle" Target="colors300.xml"/><Relationship Id="rId3"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microsoft.com/office/2011/relationships/chartStyle" Target="style301.xml"/><Relationship Id="rId2" Type="http://schemas.microsoft.com/office/2011/relationships/chartColorStyle" Target="colors301.xml"/><Relationship Id="rId3"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microsoft.com/office/2011/relationships/chartStyle" Target="style302.xml"/><Relationship Id="rId2" Type="http://schemas.microsoft.com/office/2011/relationships/chartColorStyle" Target="colors302.xml"/><Relationship Id="rId3"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microsoft.com/office/2011/relationships/chartStyle" Target="style303.xml"/><Relationship Id="rId2" Type="http://schemas.microsoft.com/office/2011/relationships/chartColorStyle" Target="colors303.xml"/><Relationship Id="rId3"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microsoft.com/office/2011/relationships/chartStyle" Target="style304.xml"/><Relationship Id="rId2" Type="http://schemas.microsoft.com/office/2011/relationships/chartColorStyle" Target="colors304.xml"/><Relationship Id="rId3"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microsoft.com/office/2011/relationships/chartStyle" Target="style305.xml"/><Relationship Id="rId2" Type="http://schemas.microsoft.com/office/2011/relationships/chartColorStyle" Target="colors305.xml"/><Relationship Id="rId3"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microsoft.com/office/2011/relationships/chartStyle" Target="style306.xml"/><Relationship Id="rId2" Type="http://schemas.microsoft.com/office/2011/relationships/chartColorStyle" Target="colors306.xml"/><Relationship Id="rId3"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microsoft.com/office/2011/relationships/chartStyle" Target="style307.xml"/><Relationship Id="rId2" Type="http://schemas.microsoft.com/office/2011/relationships/chartColorStyle" Target="colors307.xml"/><Relationship Id="rId3"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microsoft.com/office/2011/relationships/chartStyle" Target="style308.xml"/><Relationship Id="rId2" Type="http://schemas.microsoft.com/office/2011/relationships/chartColorStyle" Target="colors308.xml"/><Relationship Id="rId3"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microsoft.com/office/2011/relationships/chartStyle" Target="style309.xml"/><Relationship Id="rId2" Type="http://schemas.microsoft.com/office/2011/relationships/chartColorStyle" Target="colors309.xml"/><Relationship Id="rId3"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microsoft.com/office/2011/relationships/chartStyle" Target="style310.xml"/><Relationship Id="rId2" Type="http://schemas.microsoft.com/office/2011/relationships/chartColorStyle" Target="colors310.xml"/><Relationship Id="rId3"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microsoft.com/office/2011/relationships/chartStyle" Target="style311.xml"/><Relationship Id="rId2" Type="http://schemas.microsoft.com/office/2011/relationships/chartColorStyle" Target="colors311.xml"/><Relationship Id="rId3"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microsoft.com/office/2011/relationships/chartStyle" Target="style312.xml"/><Relationship Id="rId2" Type="http://schemas.microsoft.com/office/2011/relationships/chartColorStyle" Target="colors312.xml"/><Relationship Id="rId3"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microsoft.com/office/2011/relationships/chartStyle" Target="style313.xml"/><Relationship Id="rId2" Type="http://schemas.microsoft.com/office/2011/relationships/chartColorStyle" Target="colors313.xml"/><Relationship Id="rId3"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microsoft.com/office/2011/relationships/chartStyle" Target="style314.xml"/><Relationship Id="rId2" Type="http://schemas.microsoft.com/office/2011/relationships/chartColorStyle" Target="colors314.xml"/><Relationship Id="rId3"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microsoft.com/office/2011/relationships/chartStyle" Target="style315.xml"/><Relationship Id="rId2" Type="http://schemas.microsoft.com/office/2011/relationships/chartColorStyle" Target="colors315.xml"/><Relationship Id="rId3"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microsoft.com/office/2011/relationships/chartStyle" Target="style316.xml"/><Relationship Id="rId2" Type="http://schemas.microsoft.com/office/2011/relationships/chartColorStyle" Target="colors316.xml"/><Relationship Id="rId3"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microsoft.com/office/2011/relationships/chartStyle" Target="style317.xml"/><Relationship Id="rId2" Type="http://schemas.microsoft.com/office/2011/relationships/chartColorStyle" Target="colors317.xml"/><Relationship Id="rId3"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microsoft.com/office/2011/relationships/chartStyle" Target="style318.xml"/><Relationship Id="rId2" Type="http://schemas.microsoft.com/office/2011/relationships/chartColorStyle" Target="colors318.xml"/><Relationship Id="rId3"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microsoft.com/office/2011/relationships/chartStyle" Target="style319.xml"/><Relationship Id="rId2" Type="http://schemas.microsoft.com/office/2011/relationships/chartColorStyle" Target="colors319.xml"/><Relationship Id="rId3"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microsoft.com/office/2011/relationships/chartStyle" Target="style320.xml"/><Relationship Id="rId2" Type="http://schemas.microsoft.com/office/2011/relationships/chartColorStyle" Target="colors320.xml"/><Relationship Id="rId3"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microsoft.com/office/2011/relationships/chartStyle" Target="style321.xml"/><Relationship Id="rId2" Type="http://schemas.microsoft.com/office/2011/relationships/chartColorStyle" Target="colors321.xml"/><Relationship Id="rId3"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microsoft.com/office/2011/relationships/chartStyle" Target="style322.xml"/><Relationship Id="rId2" Type="http://schemas.microsoft.com/office/2011/relationships/chartColorStyle" Target="colors322.xml"/><Relationship Id="rId3"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microsoft.com/office/2011/relationships/chartStyle" Target="style323.xml"/><Relationship Id="rId2" Type="http://schemas.microsoft.com/office/2011/relationships/chartColorStyle" Target="colors323.xml"/><Relationship Id="rId3"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microsoft.com/office/2011/relationships/chartStyle" Target="style324.xml"/><Relationship Id="rId2" Type="http://schemas.microsoft.com/office/2011/relationships/chartColorStyle" Target="colors324.xml"/><Relationship Id="rId3"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microsoft.com/office/2011/relationships/chartStyle" Target="style325.xml"/><Relationship Id="rId2" Type="http://schemas.microsoft.com/office/2011/relationships/chartColorStyle" Target="colors325.xml"/><Relationship Id="rId3"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microsoft.com/office/2011/relationships/chartStyle" Target="style326.xml"/><Relationship Id="rId2" Type="http://schemas.microsoft.com/office/2011/relationships/chartColorStyle" Target="colors326.xml"/><Relationship Id="rId3"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microsoft.com/office/2011/relationships/chartStyle" Target="style327.xml"/><Relationship Id="rId2" Type="http://schemas.microsoft.com/office/2011/relationships/chartColorStyle" Target="colors327.xml"/><Relationship Id="rId3"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microsoft.com/office/2011/relationships/chartStyle" Target="style328.xml"/><Relationship Id="rId2" Type="http://schemas.microsoft.com/office/2011/relationships/chartColorStyle" Target="colors328.xml"/><Relationship Id="rId3"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microsoft.com/office/2011/relationships/chartStyle" Target="style329.xml"/><Relationship Id="rId2" Type="http://schemas.microsoft.com/office/2011/relationships/chartColorStyle" Target="colors329.xml"/><Relationship Id="rId3"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microsoft.com/office/2011/relationships/chartStyle" Target="style330.xml"/><Relationship Id="rId2" Type="http://schemas.microsoft.com/office/2011/relationships/chartColorStyle" Target="colors330.xml"/><Relationship Id="rId3"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microsoft.com/office/2011/relationships/chartStyle" Target="style331.xml"/><Relationship Id="rId2" Type="http://schemas.microsoft.com/office/2011/relationships/chartColorStyle" Target="colors331.xml"/><Relationship Id="rId3"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microsoft.com/office/2011/relationships/chartStyle" Target="style332.xml"/><Relationship Id="rId2" Type="http://schemas.microsoft.com/office/2011/relationships/chartColorStyle" Target="colors332.xml"/><Relationship Id="rId3"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microsoft.com/office/2011/relationships/chartStyle" Target="style333.xml"/><Relationship Id="rId2" Type="http://schemas.microsoft.com/office/2011/relationships/chartColorStyle" Target="colors333.xml"/><Relationship Id="rId3"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microsoft.com/office/2011/relationships/chartStyle" Target="style334.xml"/><Relationship Id="rId2" Type="http://schemas.microsoft.com/office/2011/relationships/chartColorStyle" Target="colors334.xml"/><Relationship Id="rId3"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microsoft.com/office/2011/relationships/chartStyle" Target="style335.xml"/><Relationship Id="rId2" Type="http://schemas.microsoft.com/office/2011/relationships/chartColorStyle" Target="colors335.xml"/><Relationship Id="rId3"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microsoft.com/office/2011/relationships/chartStyle" Target="style336.xml"/><Relationship Id="rId2" Type="http://schemas.microsoft.com/office/2011/relationships/chartColorStyle" Target="colors336.xml"/><Relationship Id="rId3"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microsoft.com/office/2011/relationships/chartStyle" Target="style337.xml"/><Relationship Id="rId2" Type="http://schemas.microsoft.com/office/2011/relationships/chartColorStyle" Target="colors337.xml"/><Relationship Id="rId3"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microsoft.com/office/2011/relationships/chartStyle" Target="style338.xml"/><Relationship Id="rId2" Type="http://schemas.microsoft.com/office/2011/relationships/chartColorStyle" Target="colors338.xml"/><Relationship Id="rId3"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microsoft.com/office/2011/relationships/chartStyle" Target="style339.xml"/><Relationship Id="rId2" Type="http://schemas.microsoft.com/office/2011/relationships/chartColorStyle" Target="colors339.xml"/><Relationship Id="rId3"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microsoft.com/office/2011/relationships/chartStyle" Target="style340.xml"/><Relationship Id="rId2" Type="http://schemas.microsoft.com/office/2011/relationships/chartColorStyle" Target="colors340.xml"/><Relationship Id="rId3"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microsoft.com/office/2011/relationships/chartStyle" Target="style341.xml"/><Relationship Id="rId2" Type="http://schemas.microsoft.com/office/2011/relationships/chartColorStyle" Target="colors341.xml"/><Relationship Id="rId3"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microsoft.com/office/2011/relationships/chartStyle" Target="style342.xml"/><Relationship Id="rId2" Type="http://schemas.microsoft.com/office/2011/relationships/chartColorStyle" Target="colors342.xml"/><Relationship Id="rId3"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microsoft.com/office/2011/relationships/chartStyle" Target="style343.xml"/><Relationship Id="rId2" Type="http://schemas.microsoft.com/office/2011/relationships/chartColorStyle" Target="colors343.xml"/><Relationship Id="rId3"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microsoft.com/office/2011/relationships/chartStyle" Target="style344.xml"/><Relationship Id="rId2" Type="http://schemas.microsoft.com/office/2011/relationships/chartColorStyle" Target="colors344.xml"/><Relationship Id="rId3"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microsoft.com/office/2011/relationships/chartStyle" Target="style345.xml"/><Relationship Id="rId2" Type="http://schemas.microsoft.com/office/2011/relationships/chartColorStyle" Target="colors345.xml"/><Relationship Id="rId3"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microsoft.com/office/2011/relationships/chartStyle" Target="style346.xml"/><Relationship Id="rId2" Type="http://schemas.microsoft.com/office/2011/relationships/chartColorStyle" Target="colors346.xml"/><Relationship Id="rId3"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microsoft.com/office/2011/relationships/chartStyle" Target="style347.xml"/><Relationship Id="rId2" Type="http://schemas.microsoft.com/office/2011/relationships/chartColorStyle" Target="colors347.xml"/><Relationship Id="rId3"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microsoft.com/office/2011/relationships/chartStyle" Target="style348.xml"/><Relationship Id="rId2" Type="http://schemas.microsoft.com/office/2011/relationships/chartColorStyle" Target="colors348.xml"/><Relationship Id="rId3"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microsoft.com/office/2011/relationships/chartStyle" Target="style349.xml"/><Relationship Id="rId2" Type="http://schemas.microsoft.com/office/2011/relationships/chartColorStyle" Target="colors349.xml"/><Relationship Id="rId3"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microsoft.com/office/2011/relationships/chartStyle" Target="style350.xml"/><Relationship Id="rId2" Type="http://schemas.microsoft.com/office/2011/relationships/chartColorStyle" Target="colors350.xml"/><Relationship Id="rId3"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microsoft.com/office/2011/relationships/chartStyle" Target="style351.xml"/><Relationship Id="rId2" Type="http://schemas.microsoft.com/office/2011/relationships/chartColorStyle" Target="colors351.xml"/><Relationship Id="rId3"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microsoft.com/office/2011/relationships/chartStyle" Target="style352.xml"/><Relationship Id="rId2" Type="http://schemas.microsoft.com/office/2011/relationships/chartColorStyle" Target="colors352.xml"/><Relationship Id="rId3"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microsoft.com/office/2011/relationships/chartStyle" Target="style353.xml"/><Relationship Id="rId2" Type="http://schemas.microsoft.com/office/2011/relationships/chartColorStyle" Target="colors353.xml"/><Relationship Id="rId3"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microsoft.com/office/2011/relationships/chartStyle" Target="style354.xml"/><Relationship Id="rId2" Type="http://schemas.microsoft.com/office/2011/relationships/chartColorStyle" Target="colors354.xml"/><Relationship Id="rId3"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microsoft.com/office/2011/relationships/chartStyle" Target="style355.xml"/><Relationship Id="rId2" Type="http://schemas.microsoft.com/office/2011/relationships/chartColorStyle" Target="colors355.xml"/><Relationship Id="rId3"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microsoft.com/office/2011/relationships/chartStyle" Target="style356.xml"/><Relationship Id="rId2" Type="http://schemas.microsoft.com/office/2011/relationships/chartColorStyle" Target="colors356.xml"/><Relationship Id="rId3"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microsoft.com/office/2011/relationships/chartStyle" Target="style357.xml"/><Relationship Id="rId2" Type="http://schemas.microsoft.com/office/2011/relationships/chartColorStyle" Target="colors357.xml"/><Relationship Id="rId3"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microsoft.com/office/2011/relationships/chartStyle" Target="style358.xml"/><Relationship Id="rId2" Type="http://schemas.microsoft.com/office/2011/relationships/chartColorStyle" Target="colors358.xml"/><Relationship Id="rId3"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microsoft.com/office/2011/relationships/chartStyle" Target="style359.xml"/><Relationship Id="rId2" Type="http://schemas.microsoft.com/office/2011/relationships/chartColorStyle" Target="colors359.xml"/><Relationship Id="rId3"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microsoft.com/office/2011/relationships/chartStyle" Target="style360.xml"/><Relationship Id="rId2" Type="http://schemas.microsoft.com/office/2011/relationships/chartColorStyle" Target="colors360.xml"/><Relationship Id="rId3"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microsoft.com/office/2011/relationships/chartStyle" Target="style361.xml"/><Relationship Id="rId2" Type="http://schemas.microsoft.com/office/2011/relationships/chartColorStyle" Target="colors361.xml"/><Relationship Id="rId3"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microsoft.com/office/2011/relationships/chartStyle" Target="style362.xml"/><Relationship Id="rId2" Type="http://schemas.microsoft.com/office/2011/relationships/chartColorStyle" Target="colors362.xml"/><Relationship Id="rId3"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microsoft.com/office/2011/relationships/chartStyle" Target="style363.xml"/><Relationship Id="rId2" Type="http://schemas.microsoft.com/office/2011/relationships/chartColorStyle" Target="colors363.xml"/><Relationship Id="rId3"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microsoft.com/office/2011/relationships/chartStyle" Target="style364.xml"/><Relationship Id="rId2" Type="http://schemas.microsoft.com/office/2011/relationships/chartColorStyle" Target="colors364.xml"/><Relationship Id="rId3"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microsoft.com/office/2011/relationships/chartStyle" Target="style365.xml"/><Relationship Id="rId2" Type="http://schemas.microsoft.com/office/2011/relationships/chartColorStyle" Target="colors365.xml"/><Relationship Id="rId3"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microsoft.com/office/2011/relationships/chartStyle" Target="style366.xml"/><Relationship Id="rId2" Type="http://schemas.microsoft.com/office/2011/relationships/chartColorStyle" Target="colors366.xml"/><Relationship Id="rId3"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microsoft.com/office/2011/relationships/chartStyle" Target="style367.xml"/><Relationship Id="rId2" Type="http://schemas.microsoft.com/office/2011/relationships/chartColorStyle" Target="colors367.xml"/><Relationship Id="rId3"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microsoft.com/office/2011/relationships/chartStyle" Target="style368.xml"/><Relationship Id="rId2" Type="http://schemas.microsoft.com/office/2011/relationships/chartColorStyle" Target="colors368.xml"/><Relationship Id="rId3"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microsoft.com/office/2011/relationships/chartStyle" Target="style369.xml"/><Relationship Id="rId2" Type="http://schemas.microsoft.com/office/2011/relationships/chartColorStyle" Target="colors369.xml"/><Relationship Id="rId3"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microsoft.com/office/2011/relationships/chartStyle" Target="style370.xml"/><Relationship Id="rId2" Type="http://schemas.microsoft.com/office/2011/relationships/chartColorStyle" Target="colors370.xml"/><Relationship Id="rId3"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microsoft.com/office/2011/relationships/chartStyle" Target="style371.xml"/><Relationship Id="rId2" Type="http://schemas.microsoft.com/office/2011/relationships/chartColorStyle" Target="colors371.xml"/><Relationship Id="rId3"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microsoft.com/office/2011/relationships/chartStyle" Target="style372.xml"/><Relationship Id="rId2" Type="http://schemas.microsoft.com/office/2011/relationships/chartColorStyle" Target="colors372.xml"/><Relationship Id="rId3" Type="http://schemas.openxmlformats.org/officeDocument/2006/relationships/package" Target="../embeddings/Microsoft_Excel_Worksheet371.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7</a:t>
                    </a:r>
                  </a:p>
                  <a:p>
                    <a:r>
                      <a:t>2.57</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C$2:$C$3</c:f>
              <c:numCache>
                <c:formatCode>General</c:formatCode>
                <c:ptCount val="2"/>
                <c:pt idx="0">
                  <c:v>2.57</c:v>
                </c:pt>
                <c:pt idx="1">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D$2:$D$3</c:f>
              <c:numCache>
                <c:formatCode>General</c:formatCode>
                <c:ptCount val="2"/>
                <c:pt idx="0">
                  <c:v>3.86</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F$2:$F$3</c:f>
              <c:numCache>
                <c:formatCode>General</c:formatCode>
                <c:ptCount val="2"/>
                <c:pt idx="0">
                  <c:v>1.39</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64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5</c:v>
                </c:pt>
                <c:pt idx="1">
                  <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5</a:t>
                    </a:r>
                  </a:p>
                  <a:p>
                    <a:r>
                      <a:t>1.9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5</c:v>
                </c:pt>
                <c:pt idx="1">
                  <c:v/>
                </c:pt>
              </c:strCache>
            </c:strRef>
          </c:cat>
          <c:val>
            <c:numRef>
              <c:f>Sheet1!$C$2:$C$3</c:f>
              <c:numCache>
                <c:formatCode>General</c:formatCode>
                <c:ptCount val="2"/>
                <c:pt idx="0">
                  <c:v>1.9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5</c:v>
                </c:pt>
                <c:pt idx="1">
                  <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5</c:v>
                </c:pt>
                <c:pt idx="1">
                  <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5</c:v>
                </c:pt>
                <c:pt idx="1">
                  <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2</c:v>
                </c:pt>
                <c:pt idx="1">
                  <c:v>IX 42</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2</a:t>
                    </a:r>
                  </a:p>
                  <a:p>
                    <a:r>
                      <a:t>1.62</a:t>
                    </a:r>
                  </a:p>
                </c:rich>
              </c:tx>
              <c:dLblPos val="l"/>
              <c:showLegendKey val="0"/>
              <c:showVal val="1"/>
              <c:showCatName val="0"/>
              <c:showSerName val="0"/>
              <c:showPercent val="0"/>
              <c:showBubbleSize val="0"/>
            </c:dLbl>
            <c:dLbl>
              <c:idx val="1"/>
              <c:tx>
                <c:rich>
                  <a:bodyPr/>
                  <a:lstStyle/>
                  <a:p>
                    <a:r>
                      <a:t>IX 42</a:t>
                    </a:r>
                  </a:p>
                  <a:p>
                    <a:r>
                      <a:t>2.5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2</c:v>
                </c:pt>
                <c:pt idx="1">
                  <c:v>IX 42</c:v>
                </c:pt>
              </c:strCache>
            </c:strRef>
          </c:cat>
          <c:val>
            <c:numRef>
              <c:f>Sheet1!$C$2:$C$3</c:f>
              <c:numCache>
                <c:formatCode>General</c:formatCode>
                <c:ptCount val="2"/>
                <c:pt idx="0">
                  <c:v>1.62</c:v>
                </c:pt>
                <c:pt idx="1">
                  <c:v>2.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2</c:v>
                </c:pt>
                <c:pt idx="1">
                  <c:v>IX 42</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2</c:v>
                </c:pt>
                <c:pt idx="1">
                  <c:v>IX 42</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2</c:v>
                </c:pt>
                <c:pt idx="1">
                  <c:v>IX 42</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1.11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49</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4</a:t>
                    </a:r>
                  </a:p>
                  <a:p>
                    <a:r>
                      <a:t>2.08</a:t>
                    </a:r>
                  </a:p>
                </c:rich>
              </c:tx>
              <c:dLblPos val="l"/>
              <c:showLegendKey val="0"/>
              <c:showVal val="1"/>
              <c:showCatName val="0"/>
              <c:showSerName val="0"/>
              <c:showPercent val="0"/>
              <c:showBubbleSize val="0"/>
            </c:dLbl>
            <c:dLbl>
              <c:idx val="1"/>
              <c:tx>
                <c:rich>
                  <a:bodyPr/>
                  <a:lstStyle/>
                  <a:p>
                    <a:r>
                      <a:t>IX 49</a:t>
                    </a:r>
                  </a:p>
                  <a:p>
                    <a:r>
                      <a:t>2.8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49</c:v>
                </c:pt>
              </c:strCache>
            </c:strRef>
          </c:cat>
          <c:val>
            <c:numRef>
              <c:f>Sheet1!$C$2:$C$3</c:f>
              <c:numCache>
                <c:formatCode>General</c:formatCode>
                <c:ptCount val="2"/>
                <c:pt idx="0">
                  <c:v>2.08</c:v>
                </c:pt>
                <c:pt idx="1">
                  <c:v>2.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49</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49</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49</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1.582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56</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1</a:t>
                    </a:r>
                  </a:p>
                  <a:p>
                    <a:r>
                      <a:t>1.95</a:t>
                    </a:r>
                  </a:p>
                </c:rich>
              </c:tx>
              <c:dLblPos val="l"/>
              <c:showLegendKey val="0"/>
              <c:showVal val="1"/>
              <c:showCatName val="0"/>
              <c:showSerName val="0"/>
              <c:showPercent val="0"/>
              <c:showBubbleSize val="0"/>
            </c:dLbl>
            <c:dLbl>
              <c:idx val="1"/>
              <c:tx>
                <c:rich>
                  <a:bodyPr/>
                  <a:lstStyle/>
                  <a:p>
                    <a:r>
                      <a:t>IX 56</a:t>
                    </a:r>
                  </a:p>
                  <a:p>
                    <a:r>
                      <a:t>3.3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56</c:v>
                </c:pt>
              </c:strCache>
            </c:strRef>
          </c:cat>
          <c:val>
            <c:numRef>
              <c:f>Sheet1!$C$2:$C$3</c:f>
              <c:numCache>
                <c:formatCode>General</c:formatCode>
                <c:ptCount val="2"/>
                <c:pt idx="0">
                  <c:v>1.95</c:v>
                </c:pt>
                <c:pt idx="1">
                  <c:v>3.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56</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56</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56</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1.45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Class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C$2:$C$3</c:f>
              <c:numCache>
                <c:formatCode>General</c:formatCode>
                <c:ptCount val="2"/>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1.8081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0</c:v>
                </c:pt>
                <c:pt idx="1">
                  <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0</a:t>
                    </a:r>
                  </a:p>
                  <a:p>
                    <a:r>
                      <a:t>0.7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0</c:v>
                </c:pt>
                <c:pt idx="1">
                  <c:v/>
                </c:pt>
              </c:strCache>
            </c:strRef>
          </c:cat>
          <c:val>
            <c:numRef>
              <c:f>Sheet1!$C$2:$C$3</c:f>
              <c:numCache>
                <c:formatCode>General</c:formatCode>
                <c:ptCount val="2"/>
                <c:pt idx="0">
                  <c:v>0.7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0</c:v>
                </c:pt>
                <c:pt idx="1">
                  <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0</c:v>
                </c:pt>
                <c:pt idx="1">
                  <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0</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0.27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60</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7</a:t>
                    </a:r>
                  </a:p>
                  <a:p>
                    <a:r>
                      <a:t>0.66</a:t>
                    </a:r>
                  </a:p>
                </c:rich>
              </c:tx>
              <c:dLblPos val="l"/>
              <c:showLegendKey val="0"/>
              <c:showVal val="1"/>
              <c:showCatName val="0"/>
              <c:showSerName val="0"/>
              <c:showPercent val="0"/>
              <c:showBubbleSize val="0"/>
            </c:dLbl>
            <c:dLbl>
              <c:idx val="1"/>
              <c:tx>
                <c:rich>
                  <a:bodyPr/>
                  <a:lstStyle/>
                  <a:p>
                    <a:r>
                      <a:t>IX 60</a:t>
                    </a:r>
                  </a:p>
                  <a:p>
                    <a:r>
                      <a:t>3.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60</c:v>
                </c:pt>
              </c:strCache>
            </c:strRef>
          </c:cat>
          <c:val>
            <c:numRef>
              <c:f>Sheet1!$C$2:$C$3</c:f>
              <c:numCache>
                <c:formatCode>General</c:formatCode>
                <c:ptCount val="2"/>
                <c:pt idx="0">
                  <c:v>0.66</c:v>
                </c:pt>
                <c:pt idx="1">
                  <c:v>3.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60</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60</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6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0.16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71</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4</a:t>
                    </a:r>
                  </a:p>
                  <a:p>
                    <a:r>
                      <a:t>2.06</a:t>
                    </a:r>
                  </a:p>
                </c:rich>
              </c:tx>
              <c:dLblPos val="l"/>
              <c:showLegendKey val="0"/>
              <c:showVal val="1"/>
              <c:showCatName val="0"/>
              <c:showSerName val="0"/>
              <c:showPercent val="0"/>
              <c:showBubbleSize val="0"/>
            </c:dLbl>
            <c:dLbl>
              <c:idx val="1"/>
              <c:tx>
                <c:rich>
                  <a:bodyPr/>
                  <a:lstStyle/>
                  <a:p>
                    <a:r>
                      <a:t>IX 71</a:t>
                    </a:r>
                  </a:p>
                  <a:p>
                    <a:r>
                      <a:t>4.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71</c:v>
                </c:pt>
              </c:strCache>
            </c:strRef>
          </c:cat>
          <c:val>
            <c:numRef>
              <c:f>Sheet1!$C$2:$C$3</c:f>
              <c:numCache>
                <c:formatCode>General</c:formatCode>
                <c:ptCount val="2"/>
                <c:pt idx="0">
                  <c:v>2.06</c:v>
                </c:pt>
                <c:pt idx="1">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71</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71</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71</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1.5594000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23</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7</a:t>
                    </a:r>
                  </a:p>
                  <a:p>
                    <a:r>
                      <a:t>0.64</a:t>
                    </a:r>
                  </a:p>
                </c:rich>
              </c:tx>
              <c:dLblPos val="l"/>
              <c:showLegendKey val="0"/>
              <c:showVal val="1"/>
              <c:showCatName val="0"/>
              <c:showSerName val="0"/>
              <c:showPercent val="0"/>
              <c:showBubbleSize val="0"/>
            </c:dLbl>
            <c:dLbl>
              <c:idx val="1"/>
              <c:tx>
                <c:rich>
                  <a:bodyPr/>
                  <a:lstStyle/>
                  <a:p>
                    <a:r>
                      <a:t>IX 23</a:t>
                    </a:r>
                  </a:p>
                  <a:p>
                    <a:r>
                      <a:t>1.3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23</c:v>
                </c:pt>
              </c:strCache>
            </c:strRef>
          </c:cat>
          <c:val>
            <c:numRef>
              <c:f>Sheet1!$C$2:$C$3</c:f>
              <c:numCache>
                <c:formatCode>General</c:formatCode>
                <c:ptCount val="2"/>
                <c:pt idx="0">
                  <c:v>0.64</c:v>
                </c:pt>
                <c:pt idx="1">
                  <c:v>1.3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23</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23</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23</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0.139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0</a:t>
                    </a:r>
                  </a:p>
                  <a:p>
                    <a:r>
                      <a:t>1.1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C$2:$C$3</c:f>
              <c:numCache>
                <c:formatCode>General</c:formatCode>
                <c:ptCount val="2"/>
                <c:pt idx="1">
                  <c:v>1.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0.6578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IX 61</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1.51</a:t>
                    </a:r>
                  </a:p>
                </c:rich>
              </c:tx>
              <c:dLblPos val="l"/>
              <c:showLegendKey val="0"/>
              <c:showVal val="1"/>
              <c:showCatName val="0"/>
              <c:showSerName val="0"/>
              <c:showPercent val="0"/>
              <c:showBubbleSize val="0"/>
            </c:dLbl>
            <c:dLbl>
              <c:idx val="1"/>
              <c:tx>
                <c:rich>
                  <a:bodyPr/>
                  <a:lstStyle/>
                  <a:p>
                    <a:r>
                      <a:t>IX 61</a:t>
                    </a:r>
                  </a:p>
                  <a:p>
                    <a:r>
                      <a:t>3.6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IX 61</c:v>
                </c:pt>
              </c:strCache>
            </c:strRef>
          </c:cat>
          <c:val>
            <c:numRef>
              <c:f>Sheet1!$C$2:$C$3</c:f>
              <c:numCache>
                <c:formatCode>General</c:formatCode>
                <c:ptCount val="2"/>
                <c:pt idx="0">
                  <c:v>1.51</c:v>
                </c:pt>
                <c:pt idx="1">
                  <c:v>3.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IX 61</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IX 61</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IX 61</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1.0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83</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83</a:t>
                    </a:r>
                  </a:p>
                  <a:p>
                    <a:r>
                      <a:t>2.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83</c:v>
                </c:pt>
              </c:strCache>
            </c:strRef>
          </c:cat>
          <c:val>
            <c:numRef>
              <c:f>Sheet1!$C$2:$C$3</c:f>
              <c:numCache>
                <c:formatCode>General</c:formatCode>
                <c:ptCount val="2"/>
                <c:pt idx="1">
                  <c:v>2.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83</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83</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83</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IX 12</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a:t>
                    </a:r>
                  </a:p>
                  <a:p>
                    <a:r>
                      <a:t>0.42</a:t>
                    </a:r>
                  </a:p>
                </c:rich>
              </c:tx>
              <c:dLblPos val="l"/>
              <c:showLegendKey val="0"/>
              <c:showVal val="1"/>
              <c:showCatName val="0"/>
              <c:showSerName val="0"/>
              <c:showPercent val="0"/>
              <c:showBubbleSize val="0"/>
            </c:dLbl>
            <c:dLbl>
              <c:idx val="1"/>
              <c:tx>
                <c:rich>
                  <a:bodyPr/>
                  <a:lstStyle/>
                  <a:p>
                    <a:r>
                      <a:t>IX 12</a:t>
                    </a:r>
                  </a:p>
                  <a:p>
                    <a:r>
                      <a:t>0.7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IX 12</c:v>
                </c:pt>
              </c:strCache>
            </c:strRef>
          </c:cat>
          <c:val>
            <c:numRef>
              <c:f>Sheet1!$C$2:$C$3</c:f>
              <c:numCache>
                <c:formatCode>General</c:formatCode>
                <c:ptCount val="2"/>
                <c:pt idx="0">
                  <c:v>0.42</c:v>
                </c:pt>
                <c:pt idx="1">
                  <c:v>0.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IX 12</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IX 12</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IX 12</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0.077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6</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6</a:t>
                    </a:r>
                  </a:p>
                  <a:p>
                    <a:r>
                      <a:t>1.3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6</c:v>
                </c:pt>
              </c:strCache>
            </c:strRef>
          </c:cat>
          <c:val>
            <c:numRef>
              <c:f>Sheet1!$C$2:$C$2</c:f>
              <c:numCache>
                <c:formatCode>General</c:formatCode>
                <c:ptCount val="1"/>
                <c:pt idx="0">
                  <c:v>1.3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6</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6</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6</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3</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3</a:t>
                    </a:r>
                  </a:p>
                  <a:p>
                    <a:r>
                      <a:t>3.5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3</c:v>
                </c:pt>
              </c:strCache>
            </c:strRef>
          </c:cat>
          <c:val>
            <c:numRef>
              <c:f>Sheet1!$C$2:$C$2</c:f>
              <c:numCache>
                <c:formatCode>General</c:formatCode>
                <c:ptCount val="1"/>
                <c:pt idx="0">
                  <c:v>3.5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3</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3</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3</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238"/>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5</a:t>
                    </a:r>
                  </a:p>
                  <a:p>
                    <a:r>
                      <a:t>0.5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C$2:$C$2</c:f>
              <c:numCache>
                <c:formatCode>General</c:formatCode>
                <c:ptCount val="1"/>
                <c:pt idx="0">
                  <c:v>0.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086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0</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60</a:t>
                    </a:r>
                  </a:p>
                  <a:p>
                    <a:r>
                      <a:t>2.3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0</c:v>
                </c:pt>
              </c:strCache>
            </c:strRef>
          </c:cat>
          <c:val>
            <c:numRef>
              <c:f>Sheet1!$C$2:$C$2</c:f>
              <c:numCache>
                <c:formatCode>General</c:formatCode>
                <c:ptCount val="1"/>
                <c:pt idx="0">
                  <c:v>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0</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0</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0</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83</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83</a:t>
                    </a:r>
                  </a:p>
                  <a:p>
                    <a:r>
                      <a:t>2.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83</c:v>
                </c:pt>
              </c:strCache>
            </c:strRef>
          </c:cat>
          <c:val>
            <c:numRef>
              <c:f>Sheet1!$C$2:$C$2</c:f>
              <c:numCache>
                <c:formatCode>General</c:formatCode>
                <c:ptCount val="1"/>
                <c:pt idx="0">
                  <c:v>2.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83</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83</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83</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99"/>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3</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Class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3</a:t>
                    </a:r>
                  </a:p>
                  <a:p>
                    <a:r>
                      <a:t>1.0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3</c:v>
                </c:pt>
              </c:strCache>
            </c:strRef>
          </c:cat>
          <c:val>
            <c:numRef>
              <c:f>Sheet1!$C$2:$C$2</c:f>
              <c:numCache>
                <c:formatCode>General</c:formatCode>
                <c:ptCount val="1"/>
                <c:pt idx="0">
                  <c:v>1.0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3</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3</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3</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7</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77</a:t>
                    </a:r>
                  </a:p>
                  <a:p>
                    <a:r>
                      <a:t>1.5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7</c:v>
                </c:pt>
              </c:strCache>
            </c:strRef>
          </c:cat>
          <c:val>
            <c:numRef>
              <c:f>Sheet1!$C$2:$C$2</c:f>
              <c:numCache>
                <c:formatCode>General</c:formatCode>
                <c:ptCount val="1"/>
                <c:pt idx="0">
                  <c:v>1.5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7</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7</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7</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54</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4</a:t>
                    </a:r>
                  </a:p>
                  <a:p>
                    <a:r>
                      <a:t>3.1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54</c:v>
                </c:pt>
              </c:strCache>
            </c:strRef>
          </c:cat>
          <c:val>
            <c:numRef>
              <c:f>Sheet1!$C$2:$C$2</c:f>
              <c:numCache>
                <c:formatCode>General</c:formatCode>
                <c:ptCount val="1"/>
                <c:pt idx="0">
                  <c:v>3.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54</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54</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54</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719"/>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4</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04</a:t>
                    </a:r>
                  </a:p>
                  <a:p>
                    <a:r>
                      <a:t>1.8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4</c:v>
                </c:pt>
              </c:strCache>
            </c:strRef>
          </c:cat>
          <c:val>
            <c:numRef>
              <c:f>Sheet1!$C$2:$C$2</c:f>
              <c:numCache>
                <c:formatCode>General</c:formatCode>
                <c:ptCount val="1"/>
                <c:pt idx="0">
                  <c:v>1.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4</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4</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4</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113</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Class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6</a:t>
                    </a:r>
                  </a:p>
                  <a:p>
                    <a:r>
                      <a:t>1.12</a:t>
                    </a:r>
                  </a:p>
                </c:rich>
              </c:tx>
              <c:dLblPos val="l"/>
              <c:showLegendKey val="0"/>
              <c:showVal val="1"/>
              <c:showCatName val="0"/>
              <c:showSerName val="0"/>
              <c:showPercent val="0"/>
              <c:showBubbleSize val="0"/>
            </c:dLbl>
            <c:dLbl>
              <c:idx val="1"/>
              <c:tx>
                <c:rich>
                  <a:bodyPr/>
                  <a:lstStyle/>
                  <a:p>
                    <a:r>
                      <a:t>IX 113</a:t>
                    </a:r>
                  </a:p>
                  <a:p>
                    <a:r>
                      <a:t>1.0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113</c:v>
                </c:pt>
              </c:strCache>
            </c:strRef>
          </c:cat>
          <c:val>
            <c:numRef>
              <c:f>Sheet1!$C$2:$C$3</c:f>
              <c:numCache>
                <c:formatCode>General</c:formatCode>
                <c:ptCount val="2"/>
                <c:pt idx="0">
                  <c:v>1.12</c:v>
                </c:pt>
                <c:pt idx="1">
                  <c:v>1.0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113</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113</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113</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9</a:t>
                    </a:r>
                  </a:p>
                  <a:p>
                    <a:r>
                      <a:t>0.8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C$2:$C$2</c:f>
              <c:numCache>
                <c:formatCode>General</c:formatCode>
                <c:ptCount val="1"/>
                <c:pt idx="0">
                  <c:v>0.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3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1</a:t>
                    </a:r>
                  </a:p>
                  <a:p>
                    <a:r>
                      <a:t>0.1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C$2:$C$2</c:f>
              <c:numCache>
                <c:formatCode>General</c:formatCode>
                <c:ptCount val="1"/>
                <c:pt idx="0">
                  <c:v>0.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31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4</a:t>
                    </a:r>
                  </a:p>
                  <a:p>
                    <a:r>
                      <a:t>1.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C$2:$C$2</c:f>
              <c:numCache>
                <c:formatCode>General</c:formatCode>
                <c:ptCount val="1"/>
                <c:pt idx="0">
                  <c:v>1.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7</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87</a:t>
                    </a:r>
                  </a:p>
                  <a:p>
                    <a:r>
                      <a:t>1.6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7</c:v>
                </c:pt>
              </c:strCache>
            </c:strRef>
          </c:cat>
          <c:val>
            <c:numRef>
              <c:f>Sheet1!$C$2:$C$2</c:f>
              <c:numCache>
                <c:formatCode>General</c:formatCode>
                <c:ptCount val="1"/>
                <c:pt idx="0">
                  <c:v>1.6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7</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7</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7</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1</a:t>
                    </a:r>
                  </a:p>
                  <a:p>
                    <a:r>
                      <a:t>0.6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C$2:$C$2</c:f>
              <c:numCache>
                <c:formatCode>General</c:formatCode>
                <c:ptCount val="1"/>
                <c:pt idx="0">
                  <c:v>0.6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D$2:$D$2</c:f>
              <c:numCache>
                <c:formatCode>General</c:formatCode>
                <c:ptCount val="1"/>
                <c:pt idx="0">
                  <c:v>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E$2:$E$2</c:f>
              <c:numCache>
                <c:formatCode>General</c:formatCode>
                <c:ptCount val="1"/>
                <c:pt idx="0">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F$2:$F$2</c:f>
              <c:numCache>
                <c:formatCode>General</c:formatCode>
                <c:ptCount val="1"/>
                <c:pt idx="0">
                  <c:v>2.5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57"/>
          <c:min val="0.1403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B$2:$B$3</c:f>
              <c:numCache>
                <c:formatCode>General</c:formatCode>
                <c:ptCount val="2"/>
                <c:pt idx="0">
                  <c:v>2.3</c:v>
                </c:pt>
                <c:pt idx="1">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4</a:t>
                    </a:r>
                  </a:p>
                  <a:p>
                    <a:r>
                      <a:t>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C$2:$C$3</c:f>
              <c:numCache>
                <c:formatCode>General</c:formatCode>
                <c:ptCount val="2"/>
                <c:pt idx="1">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D$2:$D$3</c:f>
              <c:numCache>
                <c:formatCode>General</c:formatCode>
                <c:ptCount val="2"/>
                <c:pt idx="0">
                  <c:v>2.48</c:v>
                </c:pt>
                <c:pt idx="1">
                  <c:v>3.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E$2:$E$3</c:f>
              <c:numCache>
                <c:formatCode>General</c:formatCode>
                <c:ptCount val="2"/>
                <c:pt idx="0">
                  <c:v>1.85</c:v>
                </c:pt>
                <c:pt idx="1">
                  <c:v>0.4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Comfort 3 Hybri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236"/>
          <c:min val="-0.06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9</c:v>
                </c:pt>
              </c:strCache>
            </c:strRef>
          </c:cat>
          <c:val>
            <c:numRef>
              <c:f>Sheet1!$B$2:$B$2</c:f>
              <c:numCache>
                <c:formatCode>General</c:formatCode>
                <c:ptCount val="1"/>
                <c:pt idx="0">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9</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9</c:v>
                </c:pt>
              </c:strCache>
            </c:strRef>
          </c:cat>
          <c:val>
            <c:numRef>
              <c:f>Sheet1!$C$2:$C$2</c:f>
              <c:numCache>
                <c:formatCode>General</c:formatCode>
                <c:ptCount val="1"/>
                <c:pt idx="0">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9</c:v>
                </c:pt>
              </c:strCache>
            </c:strRef>
          </c:cat>
          <c:val>
            <c:numRef>
              <c:f>Sheet1!$D$2:$D$2</c:f>
              <c:numCache>
                <c:formatCode>General</c:formatCode>
                <c:ptCount val="1"/>
                <c:pt idx="0">
                  <c:v>0.6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9</c:v>
                </c:pt>
              </c:strCache>
            </c:strRef>
          </c:cat>
          <c:val>
            <c:numRef>
              <c:f>Sheet1!$E$2:$E$2</c:f>
              <c:numCache>
                <c:formatCode>General</c:formatCode>
                <c:ptCount val="1"/>
                <c:pt idx="0">
                  <c:v>0.9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9</c:v>
                </c:pt>
              </c:strCache>
            </c:strRef>
          </c:cat>
          <c:val>
            <c:numRef>
              <c:f>Sheet1!$F$2:$F$2</c:f>
              <c:numCache>
                <c:formatCode>General</c:formatCode>
                <c:ptCount val="1"/>
                <c:pt idx="0">
                  <c:v>1.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680999999999997"/>
          <c:min val="0.1100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3</c:v>
                </c:pt>
              </c:strCache>
            </c:strRef>
          </c:cat>
          <c:val>
            <c:numRef>
              <c:f>Sheet1!$B$2:$B$2</c:f>
              <c:numCache>
                <c:formatCode>General</c:formatCode>
                <c:ptCount val="1"/>
                <c:pt idx="0">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0.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3</c:v>
                </c:pt>
              </c:strCache>
            </c:strRef>
          </c:cat>
          <c:val>
            <c:numRef>
              <c:f>Sheet1!$C$2:$C$2</c:f>
              <c:numCache>
                <c:formatCode>General</c:formatCode>
                <c:ptCount val="1"/>
                <c:pt idx="0">
                  <c:v>0.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3</c:v>
                </c:pt>
              </c:strCache>
            </c:strRef>
          </c:cat>
          <c:val>
            <c:numRef>
              <c:f>Sheet1!$D$2:$D$2</c:f>
              <c:numCache>
                <c:formatCode>General</c:formatCode>
                <c:ptCount val="1"/>
                <c:pt idx="0">
                  <c:v>0.6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3</c:v>
                </c:pt>
              </c:strCache>
            </c:strRef>
          </c:cat>
          <c:val>
            <c:numRef>
              <c:f>Sheet1!$E$2:$E$2</c:f>
              <c:numCache>
                <c:formatCode>General</c:formatCode>
                <c:ptCount val="1"/>
                <c:pt idx="0">
                  <c:v>0.9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3</c:v>
                </c:pt>
              </c:strCache>
            </c:strRef>
          </c:cat>
          <c:val>
            <c:numRef>
              <c:f>Sheet1!$F$2:$F$2</c:f>
              <c:numCache>
                <c:formatCode>General</c:formatCode>
                <c:ptCount val="1"/>
                <c:pt idx="0">
                  <c:v>1.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680999999999997"/>
          <c:min val="-0.1167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IX 131</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2</a:t>
                    </a:r>
                  </a:p>
                  <a:p>
                    <a:r>
                      <a:t>3.38</a:t>
                    </a:r>
                  </a:p>
                </c:rich>
              </c:tx>
              <c:dLblPos val="l"/>
              <c:showLegendKey val="0"/>
              <c:showVal val="1"/>
              <c:showCatName val="0"/>
              <c:showSerName val="0"/>
              <c:showPercent val="0"/>
              <c:showBubbleSize val="0"/>
            </c:dLbl>
            <c:dLbl>
              <c:idx val="1"/>
              <c:tx>
                <c:rich>
                  <a:bodyPr/>
                  <a:lstStyle/>
                  <a:p>
                    <a:r>
                      <a:t>IX 131</a:t>
                    </a:r>
                  </a:p>
                  <a:p>
                    <a:r>
                      <a:t>7.3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IX 131</c:v>
                </c:pt>
              </c:strCache>
            </c:strRef>
          </c:cat>
          <c:val>
            <c:numRef>
              <c:f>Sheet1!$C$2:$C$3</c:f>
              <c:numCache>
                <c:formatCode>General</c:formatCode>
                <c:ptCount val="2"/>
                <c:pt idx="0">
                  <c:v>3.38</c:v>
                </c:pt>
                <c:pt idx="1">
                  <c:v>7.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IX 131</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IX 131</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2</c:v>
                </c:pt>
                <c:pt idx="1">
                  <c:v>IX 131</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8949"/>
          <c:min val="1.78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C$2:$C$3</c:f>
              <c:numCache>
                <c:formatCode>General</c:formatCode>
                <c:ptCount val="2"/>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1.78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8</a:t>
                    </a:r>
                  </a:p>
                  <a:p>
                    <a:r>
                      <a:t>0.7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C$2:$C$3</c:f>
              <c:numCache>
                <c:formatCode>General</c:formatCode>
                <c:ptCount val="2"/>
                <c:pt idx="0">
                  <c:v>0.7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27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57</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33</a:t>
                    </a:r>
                  </a:p>
                </c:rich>
              </c:tx>
              <c:dLblPos val="l"/>
              <c:showLegendKey val="0"/>
              <c:showVal val="1"/>
              <c:showCatName val="0"/>
              <c:showSerName val="0"/>
              <c:showPercent val="0"/>
              <c:showBubbleSize val="0"/>
            </c:dLbl>
            <c:dLbl>
              <c:idx val="1"/>
              <c:tx>
                <c:rich>
                  <a:bodyPr/>
                  <a:lstStyle/>
                  <a:p>
                    <a:r>
                      <a:t>IX 57</a:t>
                    </a:r>
                  </a:p>
                  <a:p>
                    <a:r>
                      <a:t>3.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57</c:v>
                </c:pt>
              </c:strCache>
            </c:strRef>
          </c:cat>
          <c:val>
            <c:numRef>
              <c:f>Sheet1!$C$2:$C$3</c:f>
              <c:numCache>
                <c:formatCode>General</c:formatCode>
                <c:ptCount val="2"/>
                <c:pt idx="0">
                  <c:v>2.33</c:v>
                </c:pt>
                <c:pt idx="1">
                  <c:v>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57</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57</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57</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1.78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27</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a:t>
                    </a:r>
                  </a:p>
                  <a:p>
                    <a:r>
                      <a:t>0.68</a:t>
                    </a:r>
                  </a:p>
                </c:rich>
              </c:tx>
              <c:dLblPos val="l"/>
              <c:showLegendKey val="0"/>
              <c:showVal val="1"/>
              <c:showCatName val="0"/>
              <c:showSerName val="0"/>
              <c:showPercent val="0"/>
              <c:showBubbleSize val="0"/>
            </c:dLbl>
            <c:dLbl>
              <c:idx val="1"/>
              <c:tx>
                <c:rich>
                  <a:bodyPr/>
                  <a:lstStyle/>
                  <a:p>
                    <a:r>
                      <a:t>IX 27</a:t>
                    </a:r>
                  </a:p>
                  <a:p>
                    <a:r>
                      <a:t>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27</c:v>
                </c:pt>
              </c:strCache>
            </c:strRef>
          </c:cat>
          <c:val>
            <c:numRef>
              <c:f>Sheet1!$C$2:$C$3</c:f>
              <c:numCache>
                <c:formatCode>General</c:formatCode>
                <c:ptCount val="2"/>
                <c:pt idx="0">
                  <c:v>0.68</c:v>
                </c:pt>
                <c:pt idx="1">
                  <c:v>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27</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27</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27</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0.177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42</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1</a:t>
                    </a:r>
                  </a:p>
                  <a:p>
                    <a:r>
                      <a:t>1.67</a:t>
                    </a:r>
                  </a:p>
                </c:rich>
              </c:tx>
              <c:dLblPos val="l"/>
              <c:showLegendKey val="0"/>
              <c:showVal val="1"/>
              <c:showCatName val="0"/>
              <c:showSerName val="0"/>
              <c:showPercent val="0"/>
              <c:showBubbleSize val="0"/>
            </c:dLbl>
            <c:dLbl>
              <c:idx val="1"/>
              <c:tx>
                <c:rich>
                  <a:bodyPr/>
                  <a:lstStyle/>
                  <a:p>
                    <a:r>
                      <a:t>IX 42</a:t>
                    </a:r>
                  </a:p>
                  <a:p>
                    <a:r>
                      <a:t>2.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42</c:v>
                </c:pt>
              </c:strCache>
            </c:strRef>
          </c:cat>
          <c:val>
            <c:numRef>
              <c:f>Sheet1!$C$2:$C$3</c:f>
              <c:numCache>
                <c:formatCode>General</c:formatCode>
                <c:ptCount val="2"/>
                <c:pt idx="0">
                  <c:v>1.67</c:v>
                </c:pt>
                <c:pt idx="1">
                  <c:v>2.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42</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42</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42</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1.16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6</c:v>
                </c:pt>
                <c:pt idx="1">
                  <c:v>IX 47</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6</a:t>
                    </a:r>
                  </a:p>
                  <a:p>
                    <a:r>
                      <a:t>2.32</a:t>
                    </a:r>
                  </a:p>
                </c:rich>
              </c:tx>
              <c:dLblPos val="l"/>
              <c:showLegendKey val="0"/>
              <c:showVal val="1"/>
              <c:showCatName val="0"/>
              <c:showSerName val="0"/>
              <c:showPercent val="0"/>
              <c:showBubbleSize val="0"/>
            </c:dLbl>
            <c:dLbl>
              <c:idx val="1"/>
              <c:tx>
                <c:rich>
                  <a:bodyPr/>
                  <a:lstStyle/>
                  <a:p>
                    <a:r>
                      <a:t>IX 47</a:t>
                    </a:r>
                  </a:p>
                  <a:p>
                    <a:r>
                      <a:t>2.6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6</c:v>
                </c:pt>
                <c:pt idx="1">
                  <c:v>IX 47</c:v>
                </c:pt>
              </c:strCache>
            </c:strRef>
          </c:cat>
          <c:val>
            <c:numRef>
              <c:f>Sheet1!$C$2:$C$3</c:f>
              <c:numCache>
                <c:formatCode>General</c:formatCode>
                <c:ptCount val="2"/>
                <c:pt idx="0">
                  <c:v>2.32</c:v>
                </c:pt>
                <c:pt idx="1">
                  <c:v>2.6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6</c:v>
                </c:pt>
                <c:pt idx="1">
                  <c:v>IX 47</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6</c:v>
                </c:pt>
                <c:pt idx="1">
                  <c:v>IX 47</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6</c:v>
                </c:pt>
                <c:pt idx="1">
                  <c:v>IX 47</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1.78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a:t>
                    </a:r>
                  </a:p>
                  <a:p>
                    <a:r>
                      <a:t>0.5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C$2:$C$3</c:f>
              <c:numCache>
                <c:formatCode>General</c:formatCode>
                <c:ptCount val="2"/>
                <c:pt idx="0">
                  <c:v>0.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0.0142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6</a:t>
                    </a:r>
                  </a:p>
                  <a:p>
                    <a:r>
                      <a:t>1.0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
                </c:pt>
              </c:strCache>
            </c:strRef>
          </c:cat>
          <c:val>
            <c:numRef>
              <c:f>Sheet1!$C$2:$C$3</c:f>
              <c:numCache>
                <c:formatCode>General</c:formatCode>
                <c:ptCount val="2"/>
                <c:pt idx="0">
                  <c:v>1.0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0.5857000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IX 75</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0</a:t>
                    </a:r>
                  </a:p>
                  <a:p>
                    <a:r>
                      <a:t>2.06</a:t>
                    </a:r>
                  </a:p>
                </c:rich>
              </c:tx>
              <c:dLblPos val="l"/>
              <c:showLegendKey val="0"/>
              <c:showVal val="1"/>
              <c:showCatName val="0"/>
              <c:showSerName val="0"/>
              <c:showPercent val="0"/>
              <c:showBubbleSize val="0"/>
            </c:dLbl>
            <c:dLbl>
              <c:idx val="1"/>
              <c:tx>
                <c:rich>
                  <a:bodyPr/>
                  <a:lstStyle/>
                  <a:p>
                    <a:r>
                      <a:t>IX 75</a:t>
                    </a:r>
                  </a:p>
                  <a:p>
                    <a:r>
                      <a:t>4.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IX 75</c:v>
                </c:pt>
              </c:strCache>
            </c:strRef>
          </c:cat>
          <c:val>
            <c:numRef>
              <c:f>Sheet1!$C$2:$C$3</c:f>
              <c:numCache>
                <c:formatCode>General</c:formatCode>
                <c:ptCount val="2"/>
                <c:pt idx="0">
                  <c:v>2.06</c:v>
                </c:pt>
                <c:pt idx="1">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IX 75</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IX 75</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0</c:v>
                </c:pt>
                <c:pt idx="1">
                  <c:v>IX 75</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1.55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24</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a:t>
                    </a:r>
                  </a:p>
                  <a:p>
                    <a:r>
                      <a:t>0.64</a:t>
                    </a:r>
                  </a:p>
                </c:rich>
              </c:tx>
              <c:dLblPos val="l"/>
              <c:showLegendKey val="0"/>
              <c:showVal val="1"/>
              <c:showCatName val="0"/>
              <c:showSerName val="0"/>
              <c:showPercent val="0"/>
              <c:showBubbleSize val="0"/>
            </c:dLbl>
            <c:dLbl>
              <c:idx val="1"/>
              <c:tx>
                <c:rich>
                  <a:bodyPr/>
                  <a:lstStyle/>
                  <a:p>
                    <a:r>
                      <a:t>IX 24</a:t>
                    </a:r>
                  </a:p>
                  <a:p>
                    <a:r>
                      <a:t>1.3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24</c:v>
                </c:pt>
              </c:strCache>
            </c:strRef>
          </c:cat>
          <c:val>
            <c:numRef>
              <c:f>Sheet1!$C$2:$C$3</c:f>
              <c:numCache>
                <c:formatCode>General</c:formatCode>
                <c:ptCount val="2"/>
                <c:pt idx="0">
                  <c:v>0.64</c:v>
                </c:pt>
                <c:pt idx="1">
                  <c:v>1.3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24</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24</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24</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0.1383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1</a:t>
                    </a:r>
                  </a:p>
                  <a:p>
                    <a:r>
                      <a:t>1.1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C$2:$C$3</c:f>
              <c:numCache>
                <c:formatCode>General</c:formatCode>
                <c:ptCount val="2"/>
                <c:pt idx="1">
                  <c:v>1.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0.6578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41</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a:t>
                    </a:r>
                  </a:p>
                  <a:p>
                    <a:r>
                      <a:t>1.03</a:t>
                    </a:r>
                  </a:p>
                </c:rich>
              </c:tx>
              <c:dLblPos val="l"/>
              <c:showLegendKey val="0"/>
              <c:showVal val="1"/>
              <c:showCatName val="0"/>
              <c:showSerName val="0"/>
              <c:showPercent val="0"/>
              <c:showBubbleSize val="0"/>
            </c:dLbl>
            <c:dLbl>
              <c:idx val="1"/>
              <c:tx>
                <c:rich>
                  <a:bodyPr/>
                  <a:lstStyle/>
                  <a:p>
                    <a:r>
                      <a:t>IX 41</a:t>
                    </a:r>
                  </a:p>
                  <a:p>
                    <a:r>
                      <a:t>2.3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41</c:v>
                </c:pt>
              </c:strCache>
            </c:strRef>
          </c:cat>
          <c:val>
            <c:numRef>
              <c:f>Sheet1!$C$2:$C$3</c:f>
              <c:numCache>
                <c:formatCode>General</c:formatCode>
                <c:ptCount val="2"/>
                <c:pt idx="0">
                  <c:v>1.03</c:v>
                </c:pt>
                <c:pt idx="1">
                  <c:v>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41</c:v>
                </c:pt>
              </c:strCache>
            </c:strRef>
          </c:cat>
          <c:val>
            <c:numRef>
              <c:f>Sheet1!$D$2:$D$3</c:f>
              <c:numCache>
                <c:formatCode>General</c:formatCode>
                <c:ptCount val="2"/>
                <c:pt idx="0">
                  <c:v>4.11</c:v>
                </c:pt>
                <c:pt idx="1">
                  <c:v>5.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41</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41</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258"/>
          <c:min val="0.5307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77</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77</a:t>
                    </a:r>
                  </a:p>
                  <a:p>
                    <a:r>
                      <a:t>1.5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77</c:v>
                </c:pt>
              </c:strCache>
            </c:strRef>
          </c:cat>
          <c:val>
            <c:numRef>
              <c:f>Sheet1!$C$2:$C$3</c:f>
              <c:numCache>
                <c:formatCode>General</c:formatCode>
                <c:ptCount val="2"/>
                <c:pt idx="1">
                  <c:v>1.5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77</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77</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77</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6</a:t>
                    </a:r>
                  </a:p>
                  <a:p>
                    <a:r>
                      <a:t>1.3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C$2:$C$2</c:f>
              <c:numCache>
                <c:formatCode>General</c:formatCode>
                <c:ptCount val="1"/>
                <c:pt idx="0">
                  <c:v>1.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9</a:t>
                    </a:r>
                  </a:p>
                  <a:p>
                    <a:r>
                      <a:t>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C$2:$C$2</c:f>
              <c:numCache>
                <c:formatCode>General</c:formatCode>
                <c:ptCount val="1"/>
                <c:pt idx="0">
                  <c:v>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1</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C$2:$C$2</c:f>
              <c:numCache>
                <c:formatCode>General</c:formatCode>
                <c:ptCount val="1"/>
                <c:pt idx="0">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0413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2</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62</a:t>
                    </a:r>
                  </a:p>
                  <a:p>
                    <a:r>
                      <a:t>2.3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2</c:v>
                </c:pt>
              </c:strCache>
            </c:strRef>
          </c:cat>
          <c:val>
            <c:numRef>
              <c:f>Sheet1!$C$2:$C$2</c:f>
              <c:numCache>
                <c:formatCode>General</c:formatCode>
                <c:ptCount val="1"/>
                <c:pt idx="0">
                  <c:v>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2</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2</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2</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333"/>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1</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1</a:t>
                    </a:r>
                  </a:p>
                  <a:p>
                    <a:r>
                      <a:t>0.8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1</c:v>
                </c:pt>
              </c:strCache>
            </c:strRef>
          </c:cat>
          <c:val>
            <c:numRef>
              <c:f>Sheet1!$C$2:$C$2</c:f>
              <c:numCache>
                <c:formatCode>General</c:formatCode>
                <c:ptCount val="1"/>
                <c:pt idx="0">
                  <c:v>0.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1</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1</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1</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2</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2</a:t>
                    </a:r>
                  </a:p>
                  <a:p>
                    <a:r>
                      <a:t>1.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2</c:v>
                </c:pt>
              </c:strCache>
            </c:strRef>
          </c:cat>
          <c:val>
            <c:numRef>
              <c:f>Sheet1!$C$2:$C$2</c:f>
              <c:numCache>
                <c:formatCode>General</c:formatCode>
                <c:ptCount val="1"/>
                <c:pt idx="0">
                  <c:v>1.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2</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2</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2</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2</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2</a:t>
                    </a:r>
                  </a:p>
                  <a:p>
                    <a:r>
                      <a:t>1.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2</c:v>
                </c:pt>
              </c:strCache>
            </c:strRef>
          </c:cat>
          <c:val>
            <c:numRef>
              <c:f>Sheet1!$C$2:$C$2</c:f>
              <c:numCache>
                <c:formatCode>General</c:formatCode>
                <c:ptCount val="1"/>
                <c:pt idx="0">
                  <c:v>1.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2</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2</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12</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6</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06</a:t>
                    </a:r>
                  </a:p>
                  <a:p>
                    <a:r>
                      <a:t>1.8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6</c:v>
                </c:pt>
              </c:strCache>
            </c:strRef>
          </c:cat>
          <c:val>
            <c:numRef>
              <c:f>Sheet1!$C$2:$C$2</c:f>
              <c:numCache>
                <c:formatCode>General</c:formatCode>
                <c:ptCount val="1"/>
                <c:pt idx="0">
                  <c:v>1.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6</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6</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6</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6</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6</a:t>
                    </a:r>
                  </a:p>
                  <a:p>
                    <a:r>
                      <a:t>0.8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6</c:v>
                </c:pt>
              </c:strCache>
            </c:strRef>
          </c:cat>
          <c:val>
            <c:numRef>
              <c:f>Sheet1!$C$2:$C$2</c:f>
              <c:numCache>
                <c:formatCode>General</c:formatCode>
                <c:ptCount val="1"/>
                <c:pt idx="0">
                  <c:v>0.8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6</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6</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6</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35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1</a:t>
                    </a:r>
                  </a:p>
                  <a:p>
                    <a:r>
                      <a:t>0.1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C$2:$C$2</c:f>
              <c:numCache>
                <c:formatCode>General</c:formatCode>
                <c:ptCount val="1"/>
                <c:pt idx="0">
                  <c:v>0.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31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354</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a:t>
                    </a:r>
                  </a:p>
                  <a:p>
                    <a:r>
                      <a:t>0.67</a:t>
                    </a:r>
                  </a:p>
                </c:rich>
              </c:tx>
              <c:dLblPos val="l"/>
              <c:showLegendKey val="0"/>
              <c:showVal val="1"/>
              <c:showCatName val="0"/>
              <c:showSerName val="0"/>
              <c:showPercent val="0"/>
              <c:showBubbleSize val="0"/>
            </c:dLbl>
            <c:dLbl>
              <c:idx val="1"/>
              <c:tx>
                <c:rich>
                  <a:bodyPr/>
                  <a:lstStyle/>
                  <a:p>
                    <a:r>
                      <a:t>IX 354</a:t>
                    </a:r>
                  </a:p>
                  <a:p>
                    <a:r>
                      <a:t>3.1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354</c:v>
                </c:pt>
              </c:strCache>
            </c:strRef>
          </c:cat>
          <c:val>
            <c:numRef>
              <c:f>Sheet1!$C$2:$C$3</c:f>
              <c:numCache>
                <c:formatCode>General</c:formatCode>
                <c:ptCount val="2"/>
                <c:pt idx="0">
                  <c:v>0.67</c:v>
                </c:pt>
                <c:pt idx="1">
                  <c:v>3.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354</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354</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354</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17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6</a:t>
                    </a:r>
                  </a:p>
                  <a:p>
                    <a:r>
                      <a:t>1.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C$2:$C$2</c:f>
              <c:numCache>
                <c:formatCode>General</c:formatCode>
                <c:ptCount val="1"/>
                <c:pt idx="0">
                  <c:v>1.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7</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7</a:t>
                    </a:r>
                  </a:p>
                  <a:p>
                    <a:r>
                      <a:t>0.7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7</c:v>
                </c:pt>
              </c:strCache>
            </c:strRef>
          </c:cat>
          <c:val>
            <c:numRef>
              <c:f>Sheet1!$C$2:$C$2</c:f>
              <c:numCache>
                <c:formatCode>General</c:formatCode>
                <c:ptCount val="1"/>
                <c:pt idx="0">
                  <c:v>0.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7</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7</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7</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2778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0.3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c:v>
                </c:pt>
              </c:strCache>
            </c:strRef>
          </c:cat>
          <c:val>
            <c:numRef>
              <c:f>Sheet1!$C$2:$C$2</c:f>
              <c:numCache>
                <c:formatCode>General</c:formatCode>
                <c:ptCount val="1"/>
                <c:pt idx="0">
                  <c:v>0.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c:v>
                </c:pt>
              </c:strCache>
            </c:strRef>
          </c:cat>
          <c:val>
            <c:numRef>
              <c:f>Sheet1!$F$2:$F$2</c:f>
              <c:numCache>
                <c:formatCode>General</c:formatCode>
                <c:ptCount val="1"/>
                <c:pt idx="0">
                  <c:v>2.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74"/>
          <c:min val="-0.150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7</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38</a:t>
                    </a:r>
                  </a:p>
                </c:rich>
              </c:tx>
              <c:dLblPos val="l"/>
              <c:showLegendKey val="0"/>
              <c:showVal val="1"/>
              <c:showCatName val="0"/>
              <c:showSerName val="0"/>
              <c:showPercent val="0"/>
              <c:showBubbleSize val="0"/>
            </c:dLbl>
            <c:dLbl>
              <c:idx val="1"/>
              <c:tx>
                <c:rich>
                  <a:bodyPr/>
                  <a:lstStyle/>
                  <a:p>
                    <a:r>
                      <a:t>IX 57</a:t>
                    </a:r>
                  </a:p>
                  <a:p>
                    <a:r>
                      <a:t>3.4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7</c:v>
                </c:pt>
              </c:strCache>
            </c:strRef>
          </c:cat>
          <c:val>
            <c:numRef>
              <c:f>Sheet1!$C$2:$C$3</c:f>
              <c:numCache>
                <c:formatCode>General</c:formatCode>
                <c:ptCount val="2"/>
                <c:pt idx="0">
                  <c:v>2.38</c:v>
                </c:pt>
                <c:pt idx="1">
                  <c:v>3.4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7</c:v>
                </c:pt>
              </c:strCache>
            </c:strRef>
          </c:cat>
          <c:val>
            <c:numRef>
              <c:f>Sheet1!$D$2:$D$3</c:f>
              <c:numCache>
                <c:formatCode>General</c:formatCode>
                <c:ptCount val="2"/>
                <c:pt idx="0">
                  <c:v>3.54</c:v>
                </c:pt>
                <c:pt idx="1">
                  <c:v>6.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7</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7</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419"/>
          <c:min val="1.82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1</a:t>
                    </a:r>
                  </a:p>
                  <a:p>
                    <a:r>
                      <a:t>1.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C$2:$C$2</c:f>
              <c:numCache>
                <c:formatCode>General</c:formatCode>
                <c:ptCount val="1"/>
                <c:pt idx="0">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D$2:$D$2</c:f>
              <c:numCache>
                <c:formatCode>General</c:formatCode>
                <c:ptCount val="1"/>
                <c:pt idx="0">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E$2:$E$2</c:f>
              <c:numCache>
                <c:formatCode>General</c:formatCode>
                <c:ptCount val="1"/>
                <c:pt idx="0">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F$2:$F$2</c:f>
              <c:numCache>
                <c:formatCode>General</c:formatCode>
                <c:ptCount val="1"/>
                <c:pt idx="0">
                  <c:v>0.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696"/>
          <c:min val="0.1188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B$2:$B$3</c:f>
              <c:numCache>
                <c:formatCode>General</c:formatCode>
                <c:ptCount val="2"/>
                <c:pt idx="0">
                  <c:v>2.45</c:v>
                </c:pt>
                <c:pt idx="1">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77</a:t>
                    </a:r>
                  </a:p>
                  <a:p>
                    <a:r>
                      <a:t>2.8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C$2:$C$3</c:f>
              <c:numCache>
                <c:formatCode>General</c:formatCode>
                <c:ptCount val="2"/>
                <c:pt idx="1">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D$2:$D$3</c:f>
              <c:numCache>
                <c:formatCode>General</c:formatCode>
                <c:ptCount val="2"/>
                <c:pt idx="0">
                  <c:v>2.45</c:v>
                </c:pt>
                <c:pt idx="1">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E$2:$E$3</c:f>
              <c:numCache>
                <c:formatCode>General</c:formatCode>
                <c:ptCount val="2"/>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F$2:$F$3</c:f>
              <c:numCache>
                <c:formatCode>General</c:formatCode>
                <c:ptCount val="2"/>
                <c:pt idx="1">
                  <c:v>2.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3999999999995"/>
          <c:min val="1.7692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B$2:$B$2</c:f>
              <c:numCache>
                <c:formatCode>General</c:formatCode>
                <c:ptCount val="1"/>
                <c:pt idx="0">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2</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C$2:$C$2</c:f>
              <c:numCache>
                <c:formatCode>General</c:formatCode>
                <c:ptCount val="1"/>
                <c:pt idx="0">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D$2:$D$2</c:f>
              <c:numCache>
                <c:formatCode>General</c:formatCode>
                <c:ptCount val="1"/>
                <c:pt idx="0">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E$2:$E$2</c:f>
              <c:numCache>
                <c:formatCode>General</c:formatCode>
                <c:ptCount val="1"/>
                <c:pt idx="0">
                  <c:v>1.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F$2:$F$2</c:f>
              <c:numCache>
                <c:formatCode>General</c:formatCode>
                <c:ptCount val="1"/>
                <c:pt idx="0">
                  <c:v>0.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73"/>
          <c:min val="-0.1154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2</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2.38</a:t>
                    </a:r>
                  </a:p>
                </c:rich>
              </c:tx>
              <c:dLblPos val="l"/>
              <c:showLegendKey val="0"/>
              <c:showVal val="1"/>
              <c:showCatName val="0"/>
              <c:showSerName val="0"/>
              <c:showPercent val="0"/>
              <c:showBubbleSize val="0"/>
            </c:dLbl>
            <c:dLbl>
              <c:idx val="1"/>
              <c:tx>
                <c:rich>
                  <a:bodyPr/>
                  <a:lstStyle/>
                  <a:p>
                    <a:r>
                      <a:t>IX 62</a:t>
                    </a:r>
                  </a:p>
                  <a:p>
                    <a:r>
                      <a:t>3.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2</c:v>
                </c:pt>
              </c:strCache>
            </c:strRef>
          </c:cat>
          <c:val>
            <c:numRef>
              <c:f>Sheet1!$C$2:$C$3</c:f>
              <c:numCache>
                <c:formatCode>General</c:formatCode>
                <c:ptCount val="2"/>
                <c:pt idx="0">
                  <c:v>2.38</c:v>
                </c:pt>
                <c:pt idx="1">
                  <c:v>3.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2</c:v>
                </c:pt>
              </c:strCache>
            </c:strRef>
          </c:cat>
          <c:val>
            <c:numRef>
              <c:f>Sheet1!$D$2:$D$3</c:f>
              <c:numCache>
                <c:formatCode>General</c:formatCode>
                <c:ptCount val="2"/>
                <c:pt idx="0">
                  <c:v>3.65</c:v>
                </c:pt>
                <c:pt idx="1">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2</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2</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28"/>
          <c:min val="1.78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0</a:t>
                    </a:r>
                  </a:p>
                  <a:p>
                    <a:r>
                      <a:t>0.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C$2:$C$2</c:f>
              <c:numCache>
                <c:formatCode>General</c:formatCode>
                <c:ptCount val="1"/>
                <c:pt idx="0">
                  <c:v>0.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F$2:$F$2</c:f>
              <c:numCache>
                <c:formatCode>General</c:formatCode>
                <c:ptCount val="1"/>
                <c:pt idx="0">
                  <c:v>0.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85"/>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IX 99</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6</a:t>
                    </a:r>
                  </a:p>
                  <a:p>
                    <a:r>
                      <a:t>3.45</a:t>
                    </a:r>
                  </a:p>
                </c:rich>
              </c:tx>
              <c:dLblPos val="l"/>
              <c:showLegendKey val="0"/>
              <c:showVal val="1"/>
              <c:showCatName val="0"/>
              <c:showSerName val="0"/>
              <c:showPercent val="0"/>
              <c:showBubbleSize val="0"/>
            </c:dLbl>
            <c:dLbl>
              <c:idx val="1"/>
              <c:tx>
                <c:rich>
                  <a:bodyPr/>
                  <a:lstStyle/>
                  <a:p>
                    <a:r>
                      <a:t>IX 99</a:t>
                    </a:r>
                  </a:p>
                  <a:p>
                    <a:r>
                      <a:t>6.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IX 99</c:v>
                </c:pt>
              </c:strCache>
            </c:strRef>
          </c:cat>
          <c:val>
            <c:numRef>
              <c:f>Sheet1!$C$2:$C$3</c:f>
              <c:numCache>
                <c:formatCode>General</c:formatCode>
                <c:ptCount val="2"/>
                <c:pt idx="0">
                  <c:v>3.45</c:v>
                </c:pt>
                <c:pt idx="1">
                  <c:v>6.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IX 99</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IX 99</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6</c:v>
                </c:pt>
                <c:pt idx="1">
                  <c:v>IX 99</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1.82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4</a:t>
                    </a:r>
                  </a:p>
                  <a:p>
                    <a:r>
                      <a:t>2.3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
                </c:pt>
              </c:strCache>
            </c:strRef>
          </c:cat>
          <c:val>
            <c:numRef>
              <c:f>Sheet1!$C$2:$C$3</c:f>
              <c:numCache>
                <c:formatCode>General</c:formatCode>
                <c:ptCount val="2"/>
                <c:pt idx="0">
                  <c:v>2.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C$2:$C$3</c:f>
              <c:numCache>
                <c:formatCode>General</c:formatCode>
                <c:ptCount val="2"/>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1.82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56</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3</a:t>
                    </a:r>
                  </a:p>
                  <a:p>
                    <a:r>
                      <a:t>2.54</a:t>
                    </a:r>
                  </a:p>
                </c:rich>
              </c:tx>
              <c:dLblPos val="l"/>
              <c:showLegendKey val="0"/>
              <c:showVal val="1"/>
              <c:showCatName val="0"/>
              <c:showSerName val="0"/>
              <c:showPercent val="0"/>
              <c:showBubbleSize val="0"/>
            </c:dLbl>
            <c:dLbl>
              <c:idx val="1"/>
              <c:tx>
                <c:rich>
                  <a:bodyPr/>
                  <a:lstStyle/>
                  <a:p>
                    <a:r>
                      <a:t>IX 56</a:t>
                    </a:r>
                  </a:p>
                  <a:p>
                    <a:r>
                      <a:t>3.4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56</c:v>
                </c:pt>
              </c:strCache>
            </c:strRef>
          </c:cat>
          <c:val>
            <c:numRef>
              <c:f>Sheet1!$C$2:$C$3</c:f>
              <c:numCache>
                <c:formatCode>General</c:formatCode>
                <c:ptCount val="2"/>
                <c:pt idx="0">
                  <c:v>2.54</c:v>
                </c:pt>
                <c:pt idx="1">
                  <c:v>3.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56</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56</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56</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1.82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4</c:v>
                </c:pt>
                <c:pt idx="1">
                  <c:v>IX 43</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1.78</a:t>
                    </a:r>
                  </a:p>
                </c:rich>
              </c:tx>
              <c:dLblPos val="l"/>
              <c:showLegendKey val="0"/>
              <c:showVal val="1"/>
              <c:showCatName val="0"/>
              <c:showSerName val="0"/>
              <c:showPercent val="0"/>
              <c:showBubbleSize val="0"/>
            </c:dLbl>
            <c:dLbl>
              <c:idx val="1"/>
              <c:tx>
                <c:rich>
                  <a:bodyPr/>
                  <a:lstStyle/>
                  <a:p>
                    <a:r>
                      <a:t>IX 43</a:t>
                    </a:r>
                  </a:p>
                  <a:p>
                    <a:r>
                      <a:t>2.6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4</c:v>
                </c:pt>
                <c:pt idx="1">
                  <c:v>IX 43</c:v>
                </c:pt>
              </c:strCache>
            </c:strRef>
          </c:cat>
          <c:val>
            <c:numRef>
              <c:f>Sheet1!$C$2:$C$3</c:f>
              <c:numCache>
                <c:formatCode>General</c:formatCode>
                <c:ptCount val="2"/>
                <c:pt idx="0">
                  <c:v>1.78</c:v>
                </c:pt>
                <c:pt idx="1">
                  <c:v>2.6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4</c:v>
                </c:pt>
                <c:pt idx="1">
                  <c:v>IX 43</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4</c:v>
                </c:pt>
                <c:pt idx="1">
                  <c:v>IX 43</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4</c:v>
                </c:pt>
                <c:pt idx="1">
                  <c:v>IX 43</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1.278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49</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4</a:t>
                    </a:r>
                  </a:p>
                  <a:p>
                    <a:r>
                      <a:t>2.18</a:t>
                    </a:r>
                  </a:p>
                </c:rich>
              </c:tx>
              <c:dLblPos val="l"/>
              <c:showLegendKey val="0"/>
              <c:showVal val="1"/>
              <c:showCatName val="0"/>
              <c:showSerName val="0"/>
              <c:showPercent val="0"/>
              <c:showBubbleSize val="0"/>
            </c:dLbl>
            <c:dLbl>
              <c:idx val="1"/>
              <c:tx>
                <c:rich>
                  <a:bodyPr/>
                  <a:lstStyle/>
                  <a:p>
                    <a:r>
                      <a:t>IX 49</a:t>
                    </a:r>
                  </a:p>
                  <a:p>
                    <a:r>
                      <a:t>3.0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49</c:v>
                </c:pt>
              </c:strCache>
            </c:strRef>
          </c:cat>
          <c:val>
            <c:numRef>
              <c:f>Sheet1!$C$2:$C$3</c:f>
              <c:numCache>
                <c:formatCode>General</c:formatCode>
                <c:ptCount val="2"/>
                <c:pt idx="0">
                  <c:v>2.18</c:v>
                </c:pt>
                <c:pt idx="1">
                  <c:v>3.0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49</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49</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4</c:v>
                </c:pt>
                <c:pt idx="1">
                  <c:v>IX 49</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1.67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67</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1</a:t>
                    </a:r>
                  </a:p>
                  <a:p>
                    <a:r>
                      <a:t>2.06</a:t>
                    </a:r>
                  </a:p>
                </c:rich>
              </c:tx>
              <c:dLblPos val="l"/>
              <c:showLegendKey val="0"/>
              <c:showVal val="1"/>
              <c:showCatName val="0"/>
              <c:showSerName val="0"/>
              <c:showPercent val="0"/>
              <c:showBubbleSize val="0"/>
            </c:dLbl>
            <c:dLbl>
              <c:idx val="1"/>
              <c:tx>
                <c:rich>
                  <a:bodyPr/>
                  <a:lstStyle/>
                  <a:p>
                    <a:r>
                      <a:t>IX 67</a:t>
                    </a:r>
                  </a:p>
                  <a:p>
                    <a:r>
                      <a:t>4.1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67</c:v>
                </c:pt>
              </c:strCache>
            </c:strRef>
          </c:cat>
          <c:val>
            <c:numRef>
              <c:f>Sheet1!$C$2:$C$3</c:f>
              <c:numCache>
                <c:formatCode>General</c:formatCode>
                <c:ptCount val="2"/>
                <c:pt idx="0">
                  <c:v>2.06</c:v>
                </c:pt>
                <c:pt idx="1">
                  <c:v>4.1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67</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67</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67</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1.5558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Class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C$2:$C$3</c:f>
              <c:numCache>
                <c:formatCode>General</c:formatCode>
                <c:ptCount val="2"/>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1.82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1</a:t>
                    </a:r>
                  </a:p>
                  <a:p>
                    <a:r>
                      <a:t>1.2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
                </c:pt>
              </c:strCache>
            </c:strRef>
          </c:cat>
          <c:val>
            <c:numRef>
              <c:f>Sheet1!$C$2:$C$3</c:f>
              <c:numCache>
                <c:formatCode>General</c:formatCode>
                <c:ptCount val="2"/>
                <c:pt idx="0">
                  <c:v>1.2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0.7585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6</c:v>
                </c:pt>
                <c:pt idx="1">
                  <c:v>IX 64</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1.44</a:t>
                    </a:r>
                  </a:p>
                </c:rich>
              </c:tx>
              <c:dLblPos val="l"/>
              <c:showLegendKey val="0"/>
              <c:showVal val="1"/>
              <c:showCatName val="0"/>
              <c:showSerName val="0"/>
              <c:showPercent val="0"/>
              <c:showBubbleSize val="0"/>
            </c:dLbl>
            <c:dLbl>
              <c:idx val="1"/>
              <c:tx>
                <c:rich>
                  <a:bodyPr/>
                  <a:lstStyle/>
                  <a:p>
                    <a:r>
                      <a:t>IX 64</a:t>
                    </a:r>
                  </a:p>
                  <a:p>
                    <a:r>
                      <a:t>4.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6</c:v>
                </c:pt>
                <c:pt idx="1">
                  <c:v>IX 64</c:v>
                </c:pt>
              </c:strCache>
            </c:strRef>
          </c:cat>
          <c:val>
            <c:numRef>
              <c:f>Sheet1!$C$2:$C$3</c:f>
              <c:numCache>
                <c:formatCode>General</c:formatCode>
                <c:ptCount val="2"/>
                <c:pt idx="0">
                  <c:v>1.44</c:v>
                </c:pt>
                <c:pt idx="1">
                  <c:v>4.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6</c:v>
                </c:pt>
                <c:pt idx="1">
                  <c:v>IX 64</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6</c:v>
                </c:pt>
                <c:pt idx="1">
                  <c:v>IX 64</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6</c:v>
                </c:pt>
                <c:pt idx="1">
                  <c:v>IX 64</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0.935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2</c:v>
                </c:pt>
                <c:pt idx="1">
                  <c:v>IX 68</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2</a:t>
                    </a:r>
                  </a:p>
                  <a:p>
                    <a:r>
                      <a:t>2.09</a:t>
                    </a:r>
                  </a:p>
                </c:rich>
              </c:tx>
              <c:dLblPos val="l"/>
              <c:showLegendKey val="0"/>
              <c:showVal val="1"/>
              <c:showCatName val="0"/>
              <c:showSerName val="0"/>
              <c:showPercent val="0"/>
              <c:showBubbleSize val="0"/>
            </c:dLbl>
            <c:dLbl>
              <c:idx val="1"/>
              <c:tx>
                <c:rich>
                  <a:bodyPr/>
                  <a:lstStyle/>
                  <a:p>
                    <a:r>
                      <a:t>IX 68</a:t>
                    </a:r>
                  </a:p>
                  <a:p>
                    <a:r>
                      <a:t>4.2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2</c:v>
                </c:pt>
                <c:pt idx="1">
                  <c:v>IX 68</c:v>
                </c:pt>
              </c:strCache>
            </c:strRef>
          </c:cat>
          <c:val>
            <c:numRef>
              <c:f>Sheet1!$C$2:$C$3</c:f>
              <c:numCache>
                <c:formatCode>General</c:formatCode>
                <c:ptCount val="2"/>
                <c:pt idx="0">
                  <c:v>2.09</c:v>
                </c:pt>
                <c:pt idx="1">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2</c:v>
                </c:pt>
                <c:pt idx="1">
                  <c:v>IX 68</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2</c:v>
                </c:pt>
                <c:pt idx="1">
                  <c:v>IX 68</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2</c:v>
                </c:pt>
                <c:pt idx="1">
                  <c:v>IX 68</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1.59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45</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6</a:t>
                    </a:r>
                  </a:p>
                  <a:p>
                    <a:r>
                      <a:t>1.05</a:t>
                    </a:r>
                  </a:p>
                </c:rich>
              </c:tx>
              <c:dLblPos val="l"/>
              <c:showLegendKey val="0"/>
              <c:showVal val="1"/>
              <c:showCatName val="0"/>
              <c:showSerName val="0"/>
              <c:showPercent val="0"/>
              <c:showBubbleSize val="0"/>
            </c:dLbl>
            <c:dLbl>
              <c:idx val="1"/>
              <c:tx>
                <c:rich>
                  <a:bodyPr/>
                  <a:lstStyle/>
                  <a:p>
                    <a:r>
                      <a:t>IX 45</a:t>
                    </a:r>
                  </a:p>
                  <a:p>
                    <a:r>
                      <a:t>2.7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45</c:v>
                </c:pt>
              </c:strCache>
            </c:strRef>
          </c:cat>
          <c:val>
            <c:numRef>
              <c:f>Sheet1!$C$2:$C$3</c:f>
              <c:numCache>
                <c:formatCode>General</c:formatCode>
                <c:ptCount val="2"/>
                <c:pt idx="0">
                  <c:v>1.05</c:v>
                </c:pt>
                <c:pt idx="1">
                  <c:v>2.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45</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45</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45</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0.5474000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204</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a:t>
                    </a:r>
                  </a:p>
                  <a:p>
                    <a:r>
                      <a:t>0.67</a:t>
                    </a:r>
                  </a:p>
                </c:rich>
              </c:tx>
              <c:dLblPos val="l"/>
              <c:showLegendKey val="0"/>
              <c:showVal val="1"/>
              <c:showCatName val="0"/>
              <c:showSerName val="0"/>
              <c:showPercent val="0"/>
              <c:showBubbleSize val="0"/>
            </c:dLbl>
            <c:dLbl>
              <c:idx val="1"/>
              <c:tx>
                <c:rich>
                  <a:bodyPr/>
                  <a:lstStyle/>
                  <a:p>
                    <a:r>
                      <a:t>IX 204</a:t>
                    </a:r>
                  </a:p>
                  <a:p>
                    <a:r>
                      <a:t>1.8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204</c:v>
                </c:pt>
              </c:strCache>
            </c:strRef>
          </c:cat>
          <c:val>
            <c:numRef>
              <c:f>Sheet1!$C$2:$C$3</c:f>
              <c:numCache>
                <c:formatCode>General</c:formatCode>
                <c:ptCount val="2"/>
                <c:pt idx="0">
                  <c:v>0.67</c:v>
                </c:pt>
                <c:pt idx="1">
                  <c:v>1.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204</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204</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204</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169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8</a:t>
                    </a:r>
                  </a:p>
                  <a:p>
                    <a:r>
                      <a:t>1.1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c:v>
                </c:pt>
              </c:strCache>
            </c:strRef>
          </c:cat>
          <c:val>
            <c:numRef>
              <c:f>Sheet1!$C$2:$C$3</c:f>
              <c:numCache>
                <c:formatCode>General</c:formatCode>
                <c:ptCount val="2"/>
                <c:pt idx="1">
                  <c:v>1.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0.649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64</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1</a:t>
                    </a:r>
                  </a:p>
                  <a:p>
                    <a:r>
                      <a:t>1.66</a:t>
                    </a:r>
                  </a:p>
                </c:rich>
              </c:tx>
              <c:dLblPos val="l"/>
              <c:showLegendKey val="0"/>
              <c:showVal val="1"/>
              <c:showCatName val="0"/>
              <c:showSerName val="0"/>
              <c:showPercent val="0"/>
              <c:showBubbleSize val="0"/>
            </c:dLbl>
            <c:dLbl>
              <c:idx val="1"/>
              <c:tx>
                <c:rich>
                  <a:bodyPr/>
                  <a:lstStyle/>
                  <a:p>
                    <a:r>
                      <a:t>IX 64</a:t>
                    </a:r>
                  </a:p>
                  <a:p>
                    <a:r>
                      <a:t>3.9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64</c:v>
                </c:pt>
              </c:strCache>
            </c:strRef>
          </c:cat>
          <c:val>
            <c:numRef>
              <c:f>Sheet1!$C$2:$C$3</c:f>
              <c:numCache>
                <c:formatCode>General</c:formatCode>
                <c:ptCount val="2"/>
                <c:pt idx="0">
                  <c:v>1.66</c:v>
                </c:pt>
                <c:pt idx="1">
                  <c:v>3.9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64</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64</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64</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1.163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c:v>
                </c:pt>
                <c:pt idx="1">
                  <c:v>IX 15</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a:t>
                    </a:r>
                  </a:p>
                  <a:p>
                    <a:r>
                      <a:t>0.46</a:t>
                    </a:r>
                  </a:p>
                </c:rich>
              </c:tx>
              <c:dLblPos val="l"/>
              <c:showLegendKey val="0"/>
              <c:showVal val="1"/>
              <c:showCatName val="0"/>
              <c:showSerName val="0"/>
              <c:showPercent val="0"/>
              <c:showBubbleSize val="0"/>
            </c:dLbl>
            <c:dLbl>
              <c:idx val="1"/>
              <c:tx>
                <c:rich>
                  <a:bodyPr/>
                  <a:lstStyle/>
                  <a:p>
                    <a:r>
                      <a:t>IX 15</a:t>
                    </a:r>
                  </a:p>
                  <a:p>
                    <a:r>
                      <a:t>0.9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c:v>
                </c:pt>
                <c:pt idx="1">
                  <c:v>IX 15</c:v>
                </c:pt>
              </c:strCache>
            </c:strRef>
          </c:cat>
          <c:val>
            <c:numRef>
              <c:f>Sheet1!$C$2:$C$3</c:f>
              <c:numCache>
                <c:formatCode>General</c:formatCode>
                <c:ptCount val="2"/>
                <c:pt idx="0">
                  <c:v>0.46</c:v>
                </c:pt>
                <c:pt idx="1">
                  <c:v>0.9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c:v>
                </c:pt>
                <c:pt idx="1">
                  <c:v>IX 15</c:v>
                </c:pt>
              </c:strCache>
            </c:strRef>
          </c:cat>
          <c:val>
            <c:numRef>
              <c:f>Sheet1!$D$2:$D$3</c:f>
              <c:numCache>
                <c:formatCode>General</c:formatCode>
                <c:ptCount val="2"/>
                <c:pt idx="0">
                  <c:v>4.02</c:v>
                </c:pt>
                <c:pt idx="1">
                  <c:v>6.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c:v>
                </c:pt>
                <c:pt idx="1">
                  <c:v>IX 15</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c:v>
                </c:pt>
                <c:pt idx="1">
                  <c:v>IX 15</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7189"/>
          <c:min val="-0.0371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4</a:t>
                    </a:r>
                  </a:p>
                  <a:p>
                    <a:r>
                      <a:t>1.4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C$2:$C$2</c:f>
              <c:numCache>
                <c:formatCode>General</c:formatCode>
                <c:ptCount val="1"/>
                <c:pt idx="0">
                  <c:v>1.4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4</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3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6</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96</a:t>
                    </a:r>
                  </a:p>
                  <a:p>
                    <a:r>
                      <a:t>3.6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6</c:v>
                </c:pt>
              </c:strCache>
            </c:strRef>
          </c:cat>
          <c:val>
            <c:numRef>
              <c:f>Sheet1!$C$2:$C$2</c:f>
              <c:numCache>
                <c:formatCode>General</c:formatCode>
                <c:ptCount val="1"/>
                <c:pt idx="0">
                  <c:v>3.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6</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6</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96</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162100000000001"/>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0.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C$2:$C$2</c:f>
              <c:numCache>
                <c:formatCode>General</c:formatCode>
                <c:ptCount val="1"/>
                <c:pt idx="0">
                  <c:v>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35"/>
          <c:min val="0.103299999999999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41</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41</a:t>
                    </a:r>
                  </a:p>
                  <a:p>
                    <a:r>
                      <a:t>5.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41</c:v>
                </c:pt>
              </c:strCache>
            </c:strRef>
          </c:cat>
          <c:val>
            <c:numRef>
              <c:f>Sheet1!$C$2:$C$2</c:f>
              <c:numCache>
                <c:formatCode>General</c:formatCode>
                <c:ptCount val="1"/>
                <c:pt idx="0">
                  <c:v>5.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41</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41</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41</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12</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12</a:t>
                    </a:r>
                  </a:p>
                  <a:p>
                    <a:r>
                      <a:t>2.8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12</c:v>
                </c:pt>
              </c:strCache>
            </c:strRef>
          </c:cat>
          <c:val>
            <c:numRef>
              <c:f>Sheet1!$C$2:$C$2</c:f>
              <c:numCache>
                <c:formatCode>General</c:formatCode>
                <c:ptCount val="1"/>
                <c:pt idx="0">
                  <c:v>2.8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12</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12</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12</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884"/>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Class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9</a:t>
                    </a:r>
                  </a:p>
                  <a:p>
                    <a:r>
                      <a:t>1.5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C$2:$C$2</c:f>
              <c:numCache>
                <c:formatCode>General</c:formatCode>
                <c:ptCount val="1"/>
                <c:pt idx="0">
                  <c:v>1.5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3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3</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03</a:t>
                    </a:r>
                  </a:p>
                  <a:p>
                    <a:r>
                      <a:t>1.8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3</c:v>
                </c:pt>
              </c:strCache>
            </c:strRef>
          </c:cat>
          <c:val>
            <c:numRef>
              <c:f>Sheet1!$C$2:$C$2</c:f>
              <c:numCache>
                <c:formatCode>General</c:formatCode>
                <c:ptCount val="1"/>
                <c:pt idx="0">
                  <c:v>1.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3</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3</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3</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3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9</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9</a:t>
                    </a:r>
                  </a:p>
                  <a:p>
                    <a:r>
                      <a:t>0.8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9</c:v>
                </c:pt>
              </c:strCache>
            </c:strRef>
          </c:cat>
          <c:val>
            <c:numRef>
              <c:f>Sheet1!$C$2:$C$3</c:f>
              <c:numCache>
                <c:formatCode>General</c:formatCode>
                <c:ptCount val="2"/>
                <c:pt idx="1">
                  <c:v>0.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9</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9</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9</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57</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57</a:t>
                    </a:r>
                  </a:p>
                  <a:p>
                    <a:r>
                      <a:t>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57</c:v>
                </c:pt>
              </c:strCache>
            </c:strRef>
          </c:cat>
          <c:val>
            <c:numRef>
              <c:f>Sheet1!$C$2:$C$2</c:f>
              <c:numCache>
                <c:formatCode>General</c:formatCode>
                <c:ptCount val="1"/>
                <c:pt idx="0">
                  <c:v>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57</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57</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57</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038"/>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8</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98</a:t>
                    </a:r>
                  </a:p>
                  <a:p>
                    <a:r>
                      <a:t>1.8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8</c:v>
                </c:pt>
              </c:strCache>
            </c:strRef>
          </c:cat>
          <c:val>
            <c:numRef>
              <c:f>Sheet1!$C$2:$C$2</c:f>
              <c:numCache>
                <c:formatCode>General</c:formatCode>
                <c:ptCount val="1"/>
                <c:pt idx="0">
                  <c:v>1.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8</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8</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8</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3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8</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8</a:t>
                    </a:r>
                  </a:p>
                  <a:p>
                    <a:r>
                      <a:t>0.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8</c:v>
                </c:pt>
              </c:strCache>
            </c:strRef>
          </c:cat>
          <c:val>
            <c:numRef>
              <c:f>Sheet1!$C$2:$C$2</c:f>
              <c:numCache>
                <c:formatCode>General</c:formatCode>
                <c:ptCount val="1"/>
                <c:pt idx="0">
                  <c:v>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8</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8</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8</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35"/>
          <c:min val="0.403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0</a:t>
                    </a:r>
                  </a:p>
                  <a:p>
                    <a:r>
                      <a:t>0.1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c:v>
                </c:pt>
              </c:strCache>
            </c:strRef>
          </c:cat>
          <c:val>
            <c:numRef>
              <c:f>Sheet1!$C$2:$C$2</c:f>
              <c:numCache>
                <c:formatCode>General</c:formatCode>
                <c:ptCount val="1"/>
                <c:pt idx="0">
                  <c:v>0.1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35"/>
          <c:min val="-0.3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0</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0</a:t>
                    </a:r>
                  </a:p>
                  <a:p>
                    <a:r>
                      <a:t>1.3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0</c:v>
                </c:pt>
              </c:strCache>
            </c:strRef>
          </c:cat>
          <c:val>
            <c:numRef>
              <c:f>Sheet1!$C$2:$C$2</c:f>
              <c:numCache>
                <c:formatCode>General</c:formatCode>
                <c:ptCount val="1"/>
                <c:pt idx="0">
                  <c:v>1.3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0</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0</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0</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3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7</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87</a:t>
                    </a:r>
                  </a:p>
                  <a:p>
                    <a:r>
                      <a:t>1.7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7</c:v>
                </c:pt>
              </c:strCache>
            </c:strRef>
          </c:cat>
          <c:val>
            <c:numRef>
              <c:f>Sheet1!$C$2:$C$2</c:f>
              <c:numCache>
                <c:formatCode>General</c:formatCode>
                <c:ptCount val="1"/>
                <c:pt idx="0">
                  <c:v>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7</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7</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87</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3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0.6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C$2:$C$2</c:f>
              <c:numCache>
                <c:formatCode>General</c:formatCode>
                <c:ptCount val="1"/>
                <c:pt idx="0">
                  <c:v>0.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D$2:$D$2</c:f>
              <c:numCache>
                <c:formatCode>General</c:formatCode>
                <c:ptCount val="1"/>
                <c:pt idx="0">
                  <c:v>0.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E$2:$E$2</c:f>
              <c:numCache>
                <c:formatCode>General</c:formatCode>
                <c:ptCount val="1"/>
                <c:pt idx="0">
                  <c:v>1.5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F$2:$F$2</c:f>
              <c:numCache>
                <c:formatCode>General</c:formatCode>
                <c:ptCount val="1"/>
                <c:pt idx="0">
                  <c:v>2.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535"/>
          <c:min val="0.1618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0</c:v>
                </c:pt>
              </c:strCache>
            </c:strRef>
          </c:cat>
          <c:val>
            <c:numRef>
              <c:f>Sheet1!$B$2:$B$3</c:f>
              <c:numCache>
                <c:formatCode>General</c:formatCode>
                <c:ptCount val="2"/>
                <c:pt idx="0">
                  <c:v>2.45</c:v>
                </c:pt>
                <c:pt idx="1">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80</a:t>
                    </a:r>
                  </a:p>
                  <a:p>
                    <a:r>
                      <a:t>2.8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0</c:v>
                </c:pt>
              </c:strCache>
            </c:strRef>
          </c:cat>
          <c:val>
            <c:numRef>
              <c:f>Sheet1!$C$2:$C$3</c:f>
              <c:numCache>
                <c:formatCode>General</c:formatCode>
                <c:ptCount val="2"/>
                <c:pt idx="1">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0</c:v>
                </c:pt>
              </c:strCache>
            </c:strRef>
          </c:cat>
          <c:val>
            <c:numRef>
              <c:f>Sheet1!$D$2:$D$3</c:f>
              <c:numCache>
                <c:formatCode>General</c:formatCode>
                <c:ptCount val="2"/>
                <c:pt idx="0">
                  <c:v>2.66</c:v>
                </c:pt>
                <c:pt idx="1">
                  <c:v>3.5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0</c:v>
                </c:pt>
              </c:strCache>
            </c:strRef>
          </c:cat>
          <c:val>
            <c:numRef>
              <c:f>Sheet1!$E$2:$E$3</c:f>
              <c:numCache>
                <c:formatCode>General</c:formatCode>
                <c:ptCount val="2"/>
                <c:pt idx="0">
                  <c:v>1.96</c:v>
                </c:pt>
                <c:pt idx="1">
                  <c:v>0.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Comfort 3 Hybri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0</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692"/>
          <c:min val="-0.0583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8</c:v>
                </c:pt>
              </c:strCache>
            </c:strRef>
          </c:cat>
          <c:val>
            <c:numRef>
              <c:f>Sheet1!$B$2:$B$2</c:f>
              <c:numCache>
                <c:formatCode>General</c:formatCode>
                <c:ptCount val="1"/>
                <c:pt idx="0">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8</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8</c:v>
                </c:pt>
              </c:strCache>
            </c:strRef>
          </c:cat>
          <c:val>
            <c:numRef>
              <c:f>Sheet1!$C$2:$C$2</c:f>
              <c:numCache>
                <c:formatCode>General</c:formatCode>
                <c:ptCount val="1"/>
                <c:pt idx="0">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8</c:v>
                </c:pt>
              </c:strCache>
            </c:strRef>
          </c:cat>
          <c:val>
            <c:numRef>
              <c:f>Sheet1!$D$2:$D$2</c:f>
              <c:numCache>
                <c:formatCode>General</c:formatCode>
                <c:ptCount val="1"/>
                <c:pt idx="0">
                  <c:v>0.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8</c:v>
                </c:pt>
              </c:strCache>
            </c:strRef>
          </c:cat>
          <c:val>
            <c:numRef>
              <c:f>Sheet1!$E$2:$E$2</c:f>
              <c:numCache>
                <c:formatCode>General</c:formatCode>
                <c:ptCount val="1"/>
                <c:pt idx="0">
                  <c:v>1.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8</c:v>
                </c:pt>
              </c:strCache>
            </c:strRef>
          </c:cat>
          <c:val>
            <c:numRef>
              <c:f>Sheet1!$F$2:$F$2</c:f>
              <c:numCache>
                <c:formatCode>General</c:formatCode>
                <c:ptCount val="1"/>
                <c:pt idx="0">
                  <c:v>2.1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03"/>
          <c:min val="0.1444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0</c:v>
                </c:pt>
              </c:strCache>
            </c:strRef>
          </c:cat>
          <c:val>
            <c:numRef>
              <c:f>Sheet1!$B$2:$B$2</c:f>
              <c:numCache>
                <c:formatCode>General</c:formatCode>
                <c:ptCount val="1"/>
                <c:pt idx="0">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0</a:t>
                    </a:r>
                  </a:p>
                  <a:p>
                    <a:r>
                      <a:t>0.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0</c:v>
                </c:pt>
              </c:strCache>
            </c:strRef>
          </c:cat>
          <c:val>
            <c:numRef>
              <c:f>Sheet1!$C$2:$C$2</c:f>
              <c:numCache>
                <c:formatCode>General</c:formatCode>
                <c:ptCount val="1"/>
                <c:pt idx="0">
                  <c:v>0.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0</c:v>
                </c:pt>
              </c:strCache>
            </c:strRef>
          </c:cat>
          <c:val>
            <c:numRef>
              <c:f>Sheet1!$D$2:$D$2</c:f>
              <c:numCache>
                <c:formatCode>General</c:formatCode>
                <c:ptCount val="1"/>
                <c:pt idx="0">
                  <c:v>0.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0</c:v>
                </c:pt>
              </c:strCache>
            </c:strRef>
          </c:cat>
          <c:val>
            <c:numRef>
              <c:f>Sheet1!$E$2:$E$2</c:f>
              <c:numCache>
                <c:formatCode>General</c:formatCode>
                <c:ptCount val="1"/>
                <c:pt idx="0">
                  <c:v>1.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0</c:v>
                </c:pt>
              </c:strCache>
            </c:strRef>
          </c:cat>
          <c:val>
            <c:numRef>
              <c:f>Sheet1!$F$2:$F$2</c:f>
              <c:numCache>
                <c:formatCode>General</c:formatCode>
                <c:ptCount val="1"/>
                <c:pt idx="0">
                  <c:v>2.1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03"/>
          <c:min val="-0.1154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C$2:$C$3</c:f>
              <c:numCache>
                <c:formatCode>General</c:formatCode>
                <c:ptCount val="2"/>
                <c:pt idx="1">
                  <c:v>0.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1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144</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4</a:t>
                    </a:r>
                  </a:p>
                  <a:p>
                    <a:r>
                      <a:t>3.46</a:t>
                    </a:r>
                  </a:p>
                </c:rich>
              </c:tx>
              <c:dLblPos val="l"/>
              <c:showLegendKey val="0"/>
              <c:showVal val="1"/>
              <c:showCatName val="0"/>
              <c:showSerName val="0"/>
              <c:showPercent val="0"/>
              <c:showBubbleSize val="0"/>
            </c:dLbl>
            <c:dLbl>
              <c:idx val="1"/>
              <c:tx>
                <c:rich>
                  <a:bodyPr/>
                  <a:lstStyle/>
                  <a:p>
                    <a:r>
                      <a:t>IX 144</a:t>
                    </a:r>
                  </a:p>
                  <a:p>
                    <a:r>
                      <a:t>8.3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144</c:v>
                </c:pt>
              </c:strCache>
            </c:strRef>
          </c:cat>
          <c:val>
            <c:numRef>
              <c:f>Sheet1!$C$2:$C$3</c:f>
              <c:numCache>
                <c:formatCode>General</c:formatCode>
                <c:ptCount val="2"/>
                <c:pt idx="0">
                  <c:v>3.46</c:v>
                </c:pt>
                <c:pt idx="1">
                  <c:v>8.3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144</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144</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4</c:v>
                </c:pt>
                <c:pt idx="1">
                  <c:v>IX 144</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513"/>
          <c:min val="1.78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C$2:$C$3</c:f>
              <c:numCache>
                <c:formatCode>General</c:formatCode>
                <c:ptCount val="2"/>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1.78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8</c:v>
                </c:pt>
                <c:pt idx="1">
                  <c:v>IX 57</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8</a:t>
                    </a:r>
                  </a:p>
                  <a:p>
                    <a:r>
                      <a:t>2.39</a:t>
                    </a:r>
                  </a:p>
                </c:rich>
              </c:tx>
              <c:dLblPos val="l"/>
              <c:showLegendKey val="0"/>
              <c:showVal val="1"/>
              <c:showCatName val="0"/>
              <c:showSerName val="0"/>
              <c:showPercent val="0"/>
              <c:showBubbleSize val="0"/>
            </c:dLbl>
            <c:dLbl>
              <c:idx val="1"/>
              <c:tx>
                <c:rich>
                  <a:bodyPr/>
                  <a:lstStyle/>
                  <a:p>
                    <a:r>
                      <a:t>IX 57</a:t>
                    </a:r>
                  </a:p>
                  <a:p>
                    <a:r>
                      <a:t>3.3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8</c:v>
                </c:pt>
                <c:pt idx="1">
                  <c:v>IX 57</c:v>
                </c:pt>
              </c:strCache>
            </c:strRef>
          </c:cat>
          <c:val>
            <c:numRef>
              <c:f>Sheet1!$C$2:$C$3</c:f>
              <c:numCache>
                <c:formatCode>General</c:formatCode>
                <c:ptCount val="2"/>
                <c:pt idx="0">
                  <c:v>2.39</c:v>
                </c:pt>
                <c:pt idx="1">
                  <c:v>3.3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8</c:v>
                </c:pt>
                <c:pt idx="1">
                  <c:v>IX 57</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8</c:v>
                </c:pt>
                <c:pt idx="1">
                  <c:v>IX 57</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8</c:v>
                </c:pt>
                <c:pt idx="1">
                  <c:v>IX 57</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1.78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32</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a:t>
                    </a:r>
                  </a:p>
                  <a:p>
                    <a:r>
                      <a:t>1.02</a:t>
                    </a:r>
                  </a:p>
                </c:rich>
              </c:tx>
              <c:dLblPos val="l"/>
              <c:showLegendKey val="0"/>
              <c:showVal val="1"/>
              <c:showCatName val="0"/>
              <c:showSerName val="0"/>
              <c:showPercent val="0"/>
              <c:showBubbleSize val="0"/>
            </c:dLbl>
            <c:dLbl>
              <c:idx val="1"/>
              <c:tx>
                <c:rich>
                  <a:bodyPr/>
                  <a:lstStyle/>
                  <a:p>
                    <a:r>
                      <a:t>IX 32</a:t>
                    </a:r>
                  </a:p>
                  <a:p>
                    <a:r>
                      <a:t>1.8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32</c:v>
                </c:pt>
              </c:strCache>
            </c:strRef>
          </c:cat>
          <c:val>
            <c:numRef>
              <c:f>Sheet1!$C$2:$C$3</c:f>
              <c:numCache>
                <c:formatCode>General</c:formatCode>
                <c:ptCount val="2"/>
                <c:pt idx="0">
                  <c:v>1.02</c:v>
                </c:pt>
                <c:pt idx="1">
                  <c:v>1.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32</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32</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32</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0.51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43</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1.98</a:t>
                    </a:r>
                  </a:p>
                </c:rich>
              </c:tx>
              <c:dLblPos val="l"/>
              <c:showLegendKey val="0"/>
              <c:showVal val="1"/>
              <c:showCatName val="0"/>
              <c:showSerName val="0"/>
              <c:showPercent val="0"/>
              <c:showBubbleSize val="0"/>
            </c:dLbl>
            <c:dLbl>
              <c:idx val="1"/>
              <c:tx>
                <c:rich>
                  <a:bodyPr/>
                  <a:lstStyle/>
                  <a:p>
                    <a:r>
                      <a:t>IX 43</a:t>
                    </a:r>
                  </a:p>
                  <a:p>
                    <a:r>
                      <a:t>2.4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43</c:v>
                </c:pt>
              </c:strCache>
            </c:strRef>
          </c:cat>
          <c:val>
            <c:numRef>
              <c:f>Sheet1!$C$2:$C$3</c:f>
              <c:numCache>
                <c:formatCode>General</c:formatCode>
                <c:ptCount val="2"/>
                <c:pt idx="0">
                  <c:v>1.98</c:v>
                </c:pt>
                <c:pt idx="1">
                  <c:v>2.4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43</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43</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43</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1.48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6</c:v>
                </c:pt>
                <c:pt idx="1">
                  <c:v>IX 61</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6</a:t>
                    </a:r>
                  </a:p>
                  <a:p>
                    <a:r>
                      <a:t>3.13</a:t>
                    </a:r>
                  </a:p>
                </c:rich>
              </c:tx>
              <c:dLblPos val="l"/>
              <c:showLegendKey val="0"/>
              <c:showVal val="1"/>
              <c:showCatName val="0"/>
              <c:showSerName val="0"/>
              <c:showPercent val="0"/>
              <c:showBubbleSize val="0"/>
            </c:dLbl>
            <c:dLbl>
              <c:idx val="1"/>
              <c:tx>
                <c:rich>
                  <a:bodyPr/>
                  <a:lstStyle/>
                  <a:p>
                    <a:r>
                      <a:t>IX 61</a:t>
                    </a:r>
                  </a:p>
                  <a:p>
                    <a:r>
                      <a:t>3.5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6</c:v>
                </c:pt>
                <c:pt idx="1">
                  <c:v>IX 61</c:v>
                </c:pt>
              </c:strCache>
            </c:strRef>
          </c:cat>
          <c:val>
            <c:numRef>
              <c:f>Sheet1!$C$2:$C$3</c:f>
              <c:numCache>
                <c:formatCode>General</c:formatCode>
                <c:ptCount val="2"/>
                <c:pt idx="0">
                  <c:v>3.13</c:v>
                </c:pt>
                <c:pt idx="1">
                  <c:v>3.5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6</c:v>
                </c:pt>
                <c:pt idx="1">
                  <c:v>IX 61</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6</c:v>
                </c:pt>
                <c:pt idx="1">
                  <c:v>IX 61</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6</c:v>
                </c:pt>
                <c:pt idx="1">
                  <c:v>IX 61</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1.78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1</c:v>
                </c:pt>
                <c:pt idx="1">
                  <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1</a:t>
                    </a:r>
                  </a:p>
                  <a:p>
                    <a:r>
                      <a:t>0.8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1</c:v>
                </c:pt>
                <c:pt idx="1">
                  <c:v/>
                </c:pt>
              </c:strCache>
            </c:strRef>
          </c:cat>
          <c:val>
            <c:numRef>
              <c:f>Sheet1!$C$2:$C$3</c:f>
              <c:numCache>
                <c:formatCode>General</c:formatCode>
                <c:ptCount val="2"/>
                <c:pt idx="0">
                  <c:v>0.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1</c:v>
                </c:pt>
                <c:pt idx="1">
                  <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1</c:v>
                </c:pt>
                <c:pt idx="1">
                  <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1</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0.35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3</a:t>
                    </a:r>
                  </a:p>
                  <a:p>
                    <a:r>
                      <a:t>1.7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C$2:$C$3</c:f>
              <c:numCache>
                <c:formatCode>General</c:formatCode>
                <c:ptCount val="2"/>
                <c:pt idx="0">
                  <c:v>1.7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1.264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73</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1</a:t>
                    </a:r>
                  </a:p>
                  <a:p>
                    <a:r>
                      <a:t>2.09</a:t>
                    </a:r>
                  </a:p>
                </c:rich>
              </c:tx>
              <c:dLblPos val="l"/>
              <c:showLegendKey val="0"/>
              <c:showVal val="1"/>
              <c:showCatName val="0"/>
              <c:showSerName val="0"/>
              <c:showPercent val="0"/>
              <c:showBubbleSize val="0"/>
            </c:dLbl>
            <c:dLbl>
              <c:idx val="1"/>
              <c:tx>
                <c:rich>
                  <a:bodyPr/>
                  <a:lstStyle/>
                  <a:p>
                    <a:r>
                      <a:t>IX 73</a:t>
                    </a:r>
                  </a:p>
                  <a:p>
                    <a:r>
                      <a:t>4.2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73</c:v>
                </c:pt>
              </c:strCache>
            </c:strRef>
          </c:cat>
          <c:val>
            <c:numRef>
              <c:f>Sheet1!$C$2:$C$3</c:f>
              <c:numCache>
                <c:formatCode>General</c:formatCode>
                <c:ptCount val="2"/>
                <c:pt idx="0">
                  <c:v>2.09</c:v>
                </c:pt>
                <c:pt idx="1">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73</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73</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IX 73</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1.5948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7</c:v>
                </c:pt>
                <c:pt idx="1">
                  <c:v>IX 47</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7</a:t>
                    </a:r>
                  </a:p>
                  <a:p>
                    <a:r>
                      <a:t>1.1</a:t>
                    </a:r>
                  </a:p>
                </c:rich>
              </c:tx>
              <c:dLblPos val="l"/>
              <c:showLegendKey val="0"/>
              <c:showVal val="1"/>
              <c:showCatName val="0"/>
              <c:showSerName val="0"/>
              <c:showPercent val="0"/>
              <c:showBubbleSize val="0"/>
            </c:dLbl>
            <c:dLbl>
              <c:idx val="1"/>
              <c:tx>
                <c:rich>
                  <a:bodyPr/>
                  <a:lstStyle/>
                  <a:p>
                    <a:r>
                      <a:t>IX 47</a:t>
                    </a:r>
                  </a:p>
                  <a:p>
                    <a:r>
                      <a:t>2.7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7</c:v>
                </c:pt>
                <c:pt idx="1">
                  <c:v>IX 47</c:v>
                </c:pt>
              </c:strCache>
            </c:strRef>
          </c:cat>
          <c:val>
            <c:numRef>
              <c:f>Sheet1!$C$2:$C$3</c:f>
              <c:numCache>
                <c:formatCode>General</c:formatCode>
                <c:ptCount val="2"/>
                <c:pt idx="0">
                  <c:v>1.1</c:v>
                </c:pt>
                <c:pt idx="1">
                  <c:v>2.7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7</c:v>
                </c:pt>
                <c:pt idx="1">
                  <c:v>IX 47</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7</c:v>
                </c:pt>
                <c:pt idx="1">
                  <c:v>IX 47</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7</c:v>
                </c:pt>
                <c:pt idx="1">
                  <c:v>IX 47</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0.5992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8</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C$2:$C$3</c:f>
              <c:numCache>
                <c:formatCode>General</c:formatCode>
                <c:ptCount val="2"/>
                <c:pt idx="0">
                  <c:v>1.8</c:v>
                </c:pt>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E$2:$E$3</c:f>
              <c:numCache>
                <c:formatCode>General</c:formatCode>
                <c:ptCount val="2"/>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F$2:$F$3</c:f>
              <c:numCache>
                <c:formatCode>General</c:formatCode>
                <c:ptCount val="2"/>
                <c:pt idx="0">
                  <c:v>0.17</c:v>
                </c:pt>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32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7</c:v>
                </c:pt>
                <c:pt idx="1">
                  <c:v>IX 154</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7</a:t>
                    </a:r>
                  </a:p>
                  <a:p>
                    <a:r>
                      <a:t>1.16</a:t>
                    </a:r>
                  </a:p>
                </c:rich>
              </c:tx>
              <c:dLblPos val="l"/>
              <c:showLegendKey val="0"/>
              <c:showVal val="1"/>
              <c:showCatName val="0"/>
              <c:showSerName val="0"/>
              <c:showPercent val="0"/>
              <c:showBubbleSize val="0"/>
            </c:dLbl>
            <c:dLbl>
              <c:idx val="1"/>
              <c:tx>
                <c:rich>
                  <a:bodyPr/>
                  <a:lstStyle/>
                  <a:p>
                    <a:r>
                      <a:t>IX 154</a:t>
                    </a:r>
                  </a:p>
                  <a:p>
                    <a:r>
                      <a:t>1.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7</c:v>
                </c:pt>
                <c:pt idx="1">
                  <c:v>IX 154</c:v>
                </c:pt>
              </c:strCache>
            </c:strRef>
          </c:cat>
          <c:val>
            <c:numRef>
              <c:f>Sheet1!$C$2:$C$3</c:f>
              <c:numCache>
                <c:formatCode>General</c:formatCode>
                <c:ptCount val="2"/>
                <c:pt idx="0">
                  <c:v>1.16</c:v>
                </c:pt>
                <c:pt idx="1">
                  <c:v>1.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7</c:v>
                </c:pt>
                <c:pt idx="1">
                  <c:v>IX 154</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7</c:v>
                </c:pt>
                <c:pt idx="1">
                  <c:v>IX 154</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7</c:v>
                </c:pt>
                <c:pt idx="1">
                  <c:v>IX 154</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0</a:t>
                    </a:r>
                  </a:p>
                  <a:p>
                    <a:r>
                      <a:t>1.1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C$2:$C$3</c:f>
              <c:numCache>
                <c:formatCode>General</c:formatCode>
                <c:ptCount val="2"/>
                <c:pt idx="1">
                  <c:v>1.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0.649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IX 52</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1</a:t>
                    </a:r>
                  </a:p>
                  <a:p>
                    <a:r>
                      <a:t>1.3</a:t>
                    </a:r>
                  </a:p>
                </c:rich>
              </c:tx>
              <c:dLblPos val="l"/>
              <c:showLegendKey val="0"/>
              <c:showVal val="1"/>
              <c:showCatName val="0"/>
              <c:showSerName val="0"/>
              <c:showPercent val="0"/>
              <c:showBubbleSize val="0"/>
            </c:dLbl>
            <c:dLbl>
              <c:idx val="1"/>
              <c:tx>
                <c:rich>
                  <a:bodyPr/>
                  <a:lstStyle/>
                  <a:p>
                    <a:r>
                      <a:t>IX 52</a:t>
                    </a:r>
                  </a:p>
                  <a:p>
                    <a:r>
                      <a:t>3.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IX 52</c:v>
                </c:pt>
              </c:strCache>
            </c:strRef>
          </c:cat>
          <c:val>
            <c:numRef>
              <c:f>Sheet1!$C$2:$C$3</c:f>
              <c:numCache>
                <c:formatCode>General</c:formatCode>
                <c:ptCount val="2"/>
                <c:pt idx="0">
                  <c:v>1.3</c:v>
                </c:pt>
                <c:pt idx="1">
                  <c:v>3.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IX 52</c:v>
                </c:pt>
              </c:strCache>
            </c:strRef>
          </c:cat>
          <c:val>
            <c:numRef>
              <c:f>Sheet1!$D$2:$D$3</c:f>
              <c:numCache>
                <c:formatCode>General</c:formatCode>
                <c:ptCount val="2"/>
                <c:pt idx="0">
                  <c:v>4.13</c:v>
                </c:pt>
                <c:pt idx="1">
                  <c:v>5.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IX 52</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IX 52</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078"/>
          <c:min val="0.8016000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8</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8</a:t>
                    </a:r>
                  </a:p>
                  <a:p>
                    <a:r>
                      <a:t>1.4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8</c:v>
                </c:pt>
              </c:strCache>
            </c:strRef>
          </c:cat>
          <c:val>
            <c:numRef>
              <c:f>Sheet1!$C$2:$C$2</c:f>
              <c:numCache>
                <c:formatCode>General</c:formatCode>
                <c:ptCount val="1"/>
                <c:pt idx="0">
                  <c:v>1.4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8</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8</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8</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86"/>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9</a:t>
                    </a:r>
                  </a:p>
                  <a:p>
                    <a:r>
                      <a:t>1.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C$2:$C$2</c:f>
              <c:numCache>
                <c:formatCode>General</c:formatCode>
                <c:ptCount val="1"/>
                <c:pt idx="0">
                  <c:v>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69</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86"/>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1</a:t>
                    </a:r>
                  </a:p>
                  <a:p>
                    <a:r>
                      <a:t>0.5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C$2:$C$2</c:f>
              <c:numCache>
                <c:formatCode>General</c:formatCode>
                <c:ptCount val="1"/>
                <c:pt idx="0">
                  <c:v>0.5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86"/>
          <c:min val="0.0414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81</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81</a:t>
                    </a:r>
                  </a:p>
                  <a:p>
                    <a:r>
                      <a:t>2.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81</c:v>
                </c:pt>
              </c:strCache>
            </c:strRef>
          </c:cat>
          <c:val>
            <c:numRef>
              <c:f>Sheet1!$C$2:$C$2</c:f>
              <c:numCache>
                <c:formatCode>General</c:formatCode>
                <c:ptCount val="1"/>
                <c:pt idx="0">
                  <c:v>2.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81</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81</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81</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2</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62</a:t>
                    </a:r>
                  </a:p>
                  <a:p>
                    <a:r>
                      <a:t>2.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2</c:v>
                </c:pt>
              </c:strCache>
            </c:strRef>
          </c:cat>
          <c:val>
            <c:numRef>
              <c:f>Sheet1!$C$2:$C$2</c:f>
              <c:numCache>
                <c:formatCode>General</c:formatCode>
                <c:ptCount val="1"/>
                <c:pt idx="0">
                  <c:v>2.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2</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2</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62</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333"/>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5</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5</a:t>
                    </a:r>
                  </a:p>
                  <a:p>
                    <a:r>
                      <a:t>1.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5</c:v>
                </c:pt>
              </c:strCache>
            </c:strRef>
          </c:cat>
          <c:val>
            <c:numRef>
              <c:f>Sheet1!$C$2:$C$2</c:f>
              <c:numCache>
                <c:formatCode>General</c:formatCode>
                <c:ptCount val="1"/>
                <c:pt idx="0">
                  <c:v>1.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5</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5</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5</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86"/>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37</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7</a:t>
                    </a:r>
                  </a:p>
                  <a:p>
                    <a:r>
                      <a:t>3.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37</c:v>
                </c:pt>
              </c:strCache>
            </c:strRef>
          </c:cat>
          <c:val>
            <c:numRef>
              <c:f>Sheet1!$C$2:$C$2</c:f>
              <c:numCache>
                <c:formatCode>General</c:formatCode>
                <c:ptCount val="1"/>
                <c:pt idx="0">
                  <c:v>3.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37</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37</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37</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5"/>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6</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06</a:t>
                    </a:r>
                  </a:p>
                  <a:p>
                    <a:r>
                      <a:t>1.8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6</c:v>
                </c:pt>
              </c:strCache>
            </c:strRef>
          </c:cat>
          <c:val>
            <c:numRef>
              <c:f>Sheet1!$C$2:$C$2</c:f>
              <c:numCache>
                <c:formatCode>General</c:formatCode>
                <c:ptCount val="1"/>
                <c:pt idx="0">
                  <c:v>1.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6</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6</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06</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86"/>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7</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87</a:t>
                    </a:r>
                  </a:p>
                  <a:p>
                    <a:r>
                      <a:t>1.6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7</c:v>
                </c:pt>
              </c:strCache>
            </c:strRef>
          </c:cat>
          <c:val>
            <c:numRef>
              <c:f>Sheet1!$C$2:$C$3</c:f>
              <c:numCache>
                <c:formatCode>General</c:formatCode>
                <c:ptCount val="2"/>
                <c:pt idx="1">
                  <c:v>1.6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7</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7</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7</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6</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6</a:t>
                    </a:r>
                  </a:p>
                  <a:p>
                    <a:r>
                      <a:t>0.8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6</c:v>
                </c:pt>
              </c:strCache>
            </c:strRef>
          </c:cat>
          <c:val>
            <c:numRef>
              <c:f>Sheet1!$C$2:$C$2</c:f>
              <c:numCache>
                <c:formatCode>General</c:formatCode>
                <c:ptCount val="1"/>
                <c:pt idx="0">
                  <c:v>0.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6</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6</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6</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86"/>
          <c:min val="0.3524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1</a:t>
                    </a:r>
                  </a:p>
                  <a:p>
                    <a:r>
                      <a:t>0.1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C$2:$C$2</c:f>
              <c:numCache>
                <c:formatCode>General</c:formatCode>
                <c:ptCount val="1"/>
                <c:pt idx="0">
                  <c:v>0.1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86"/>
          <c:min val="-0.3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6</a:t>
                    </a:r>
                  </a:p>
                  <a:p>
                    <a:r>
                      <a:t>1.3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C$2:$C$2</c:f>
              <c:numCache>
                <c:formatCode>General</c:formatCode>
                <c:ptCount val="1"/>
                <c:pt idx="0">
                  <c:v>1.3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6</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86"/>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9</a:t>
                    </a:r>
                  </a:p>
                  <a:p>
                    <a:r>
                      <a:t>0.7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C$2:$C$2</c:f>
              <c:numCache>
                <c:formatCode>General</c:formatCode>
                <c:ptCount val="1"/>
                <c:pt idx="0">
                  <c:v>0.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86"/>
          <c:min val="0.28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2</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2</a:t>
                    </a:r>
                  </a:p>
                  <a:p>
                    <a:r>
                      <a:t>0.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2</c:v>
                </c:pt>
              </c:strCache>
            </c:strRef>
          </c:cat>
          <c:val>
            <c:numRef>
              <c:f>Sheet1!$C$2:$C$2</c:f>
              <c:numCache>
                <c:formatCode>General</c:formatCode>
                <c:ptCount val="1"/>
                <c:pt idx="0">
                  <c:v>0.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2</c:v>
                </c:pt>
              </c:strCache>
            </c:strRef>
          </c:cat>
          <c:val>
            <c:numRef>
              <c:f>Sheet1!$D$2:$D$2</c:f>
              <c:numCache>
                <c:formatCode>General</c:formatCode>
                <c:ptCount val="1"/>
                <c:pt idx="0">
                  <c:v>0.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2</c:v>
                </c:pt>
              </c:strCache>
            </c:strRef>
          </c:cat>
          <c:val>
            <c:numRef>
              <c:f>Sheet1!$E$2:$E$2</c:f>
              <c:numCache>
                <c:formatCode>General</c:formatCode>
                <c:ptCount val="1"/>
                <c:pt idx="0">
                  <c:v>1.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2</c:v>
                </c:pt>
              </c:strCache>
            </c:strRef>
          </c:cat>
          <c:val>
            <c:numRef>
              <c:f>Sheet1!$F$2:$F$2</c:f>
              <c:numCache>
                <c:formatCode>General</c:formatCode>
                <c:ptCount val="1"/>
                <c:pt idx="0">
                  <c:v>2.2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86"/>
          <c:min val="-0.12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3</c:v>
                </c:pt>
                <c:pt idx="2">
                  <c:v>IX 53</c:v>
                </c:pt>
                <c:pt idx="3">
                  <c:v/>
                </c:pt>
                <c:pt idx="4">
                  <c:v>IX 20</c:v>
                </c:pt>
                <c:pt idx="5">
                  <c:v>IX 100</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5</a:t>
                    </a:r>
                  </a:p>
                  <a:p>
                    <a:r>
                      <a:t>3.37</a:t>
                    </a:r>
                  </a:p>
                </c:rich>
              </c:tx>
              <c:dLblPos val="l"/>
              <c:showLegendKey val="0"/>
              <c:showVal val="1"/>
              <c:showCatName val="0"/>
              <c:showSerName val="0"/>
              <c:showPercent val="0"/>
              <c:showBubbleSize val="0"/>
            </c:dLbl>
            <c:dLbl>
              <c:idx val="1"/>
              <c:tx>
                <c:rich>
                  <a:bodyPr/>
                  <a:lstStyle/>
                  <a:p>
                    <a:r>
                      <a:t>IX 63</a:t>
                    </a:r>
                  </a:p>
                  <a:p>
                    <a:r>
                      <a:t>2.9</a:t>
                    </a:r>
                  </a:p>
                </c:rich>
              </c:tx>
              <c:dLblPos val="l"/>
              <c:showLegendKey val="0"/>
              <c:showVal val="1"/>
              <c:showCatName val="0"/>
              <c:showSerName val="0"/>
              <c:showPercent val="0"/>
              <c:showBubbleSize val="0"/>
            </c:dLbl>
            <c:dLbl>
              <c:idx val="2"/>
              <c:tx>
                <c:rich>
                  <a:bodyPr/>
                  <a:lstStyle/>
                  <a:p>
                    <a:r>
                      <a:t>IX 53</a:t>
                    </a:r>
                  </a:p>
                  <a:p>
                    <a:r>
                      <a:t>3.4</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20</a:t>
                    </a:r>
                  </a:p>
                  <a:p>
                    <a:r>
                      <a:t>6.07</a:t>
                    </a:r>
                  </a:p>
                </c:rich>
              </c:tx>
              <c:dLblPos val="l"/>
              <c:showLegendKey val="0"/>
              <c:showVal val="1"/>
              <c:showCatName val="0"/>
              <c:showSerName val="0"/>
              <c:showPercent val="0"/>
              <c:showBubbleSize val="0"/>
            </c:dLbl>
            <c:dLbl>
              <c:idx val="5"/>
              <c:tx>
                <c:rich>
                  <a:bodyPr/>
                  <a:lstStyle/>
                  <a:p>
                    <a:r>
                      <a:t>IX 100</a:t>
                    </a:r>
                  </a:p>
                  <a:p>
                    <a:r>
                      <a:t>2.51</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3</c:v>
                </c:pt>
                <c:pt idx="2">
                  <c:v>IX 53</c:v>
                </c:pt>
                <c:pt idx="3">
                  <c:v/>
                </c:pt>
                <c:pt idx="4">
                  <c:v>IX 20</c:v>
                </c:pt>
                <c:pt idx="5">
                  <c:v>IX 100</c:v>
                </c:pt>
                <c:pt idx="6">
                  <c:v/>
                </c:pt>
              </c:strCache>
            </c:strRef>
          </c:cat>
          <c:val>
            <c:numRef>
              <c:f>Sheet1!$C$2:$C$8</c:f>
              <c:numCache>
                <c:formatCode>General</c:formatCode>
                <c:ptCount val="7"/>
                <c:pt idx="0">
                  <c:v>3.37</c:v>
                </c:pt>
                <c:pt idx="1">
                  <c:v>2.9</c:v>
                </c:pt>
                <c:pt idx="2">
                  <c:v>3.4</c:v>
                </c:pt>
                <c:pt idx="4">
                  <c:v>6.07</c:v>
                </c:pt>
                <c:pt idx="5">
                  <c:v>2.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3</c:v>
                </c:pt>
                <c:pt idx="2">
                  <c:v>IX 53</c:v>
                </c:pt>
                <c:pt idx="3">
                  <c:v/>
                </c:pt>
                <c:pt idx="4">
                  <c:v>IX 20</c:v>
                </c:pt>
                <c:pt idx="5">
                  <c:v>IX 100</c:v>
                </c:pt>
                <c:pt idx="6">
                  <c:v/>
                </c:pt>
              </c:strCache>
            </c:strRef>
          </c:cat>
          <c:val>
            <c:numRef>
              <c:f>Sheet1!$D$2:$D$8</c:f>
              <c:numCache>
                <c:formatCode>General</c:formatCode>
                <c:ptCount val="7"/>
                <c:pt idx="0">
                  <c:v>6.07</c:v>
                </c:pt>
                <c:pt idx="1">
                  <c:v>4.59</c:v>
                </c:pt>
                <c:pt idx="2">
                  <c:v>6.4</c:v>
                </c:pt>
                <c:pt idx="4">
                  <c:v>31.0</c:v>
                </c:pt>
                <c:pt idx="6">
                  <c:v>7.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3</c:v>
                </c:pt>
                <c:pt idx="2">
                  <c:v>IX 53</c:v>
                </c:pt>
                <c:pt idx="3">
                  <c:v/>
                </c:pt>
                <c:pt idx="4">
                  <c:v>IX 20</c:v>
                </c:pt>
                <c:pt idx="5">
                  <c:v>IX 100</c:v>
                </c:pt>
                <c:pt idx="6">
                  <c:v/>
                </c:pt>
              </c:strCache>
            </c:strRef>
          </c:cat>
          <c:val>
            <c:numRef>
              <c:f>Sheet1!$E$2:$E$8</c:f>
              <c:numCache>
                <c:formatCode>General</c:formatCode>
                <c:ptCount val="7"/>
                <c:pt idx="0">
                  <c:v>4.32</c:v>
                </c:pt>
                <c:pt idx="4">
                  <c:v>3.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3</c:v>
                </c:pt>
                <c:pt idx="2">
                  <c:v>IX 53</c:v>
                </c:pt>
                <c:pt idx="3">
                  <c:v/>
                </c:pt>
                <c:pt idx="4">
                  <c:v>IX 20</c:v>
                </c:pt>
                <c:pt idx="5">
                  <c:v>IX 100</c:v>
                </c:pt>
                <c:pt idx="6">
                  <c:v/>
                </c:pt>
              </c:strCache>
            </c:strRef>
          </c:cat>
          <c:val>
            <c:numRef>
              <c:f>Sheet1!$F$2:$F$8</c:f>
              <c:numCache>
                <c:formatCode>General</c:formatCode>
                <c:ptCount val="7"/>
                <c:pt idx="2">
                  <c:v>3.21</c:v>
                </c:pt>
                <c:pt idx="3">
                  <c:v>4.6</c:v>
                </c:pt>
                <c:pt idx="4">
                  <c:v>5.08</c:v>
                </c:pt>
                <c:pt idx="5">
                  <c:v>4.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4995"/>
          <c:min val="2.0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0</c:v>
                </c:pt>
                <c:pt idx="2">
                  <c:v>IX 11</c:v>
                </c:pt>
                <c:pt idx="3">
                  <c:v/>
                </c:pt>
                <c:pt idx="4">
                  <c:v>IX 100</c:v>
                </c:pt>
                <c:pt idx="5">
                  <c:v/>
                </c:pt>
                <c:pt idx="6">
                  <c:v>IX 100</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1</a:t>
                    </a:r>
                  </a:p>
                  <a:p>
                    <a:r>
                      <a:t>2.42</a:t>
                    </a:r>
                  </a:p>
                </c:rich>
              </c:tx>
              <c:dLblPos val="l"/>
              <c:showLegendKey val="0"/>
              <c:showVal val="1"/>
              <c:showCatName val="0"/>
              <c:showSerName val="0"/>
              <c:showPercent val="0"/>
              <c:showBubbleSize val="0"/>
            </c:dLbl>
            <c:dLbl>
              <c:idx val="1"/>
              <c:tx>
                <c:rich>
                  <a:bodyPr/>
                  <a:lstStyle/>
                  <a:p>
                    <a:r>
                      <a:t>IX 80</a:t>
                    </a:r>
                  </a:p>
                  <a:p>
                    <a:r>
                      <a:t>2.08</a:t>
                    </a:r>
                  </a:p>
                </c:rich>
              </c:tx>
              <c:dLblPos val="l"/>
              <c:showLegendKey val="0"/>
              <c:showVal val="1"/>
              <c:showCatName val="0"/>
              <c:showSerName val="0"/>
              <c:showPercent val="0"/>
              <c:showBubbleSize val="0"/>
            </c:dLbl>
            <c:dLbl>
              <c:idx val="2"/>
              <c:tx>
                <c:rich>
                  <a:bodyPr/>
                  <a:lstStyle/>
                  <a:p>
                    <a:r>
                      <a:t>IX 11</a:t>
                    </a:r>
                  </a:p>
                  <a:p>
                    <a:r>
                      <a:t>0.3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6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0.7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0</c:v>
                </c:pt>
                <c:pt idx="2">
                  <c:v>IX 11</c:v>
                </c:pt>
                <c:pt idx="3">
                  <c:v/>
                </c:pt>
                <c:pt idx="4">
                  <c:v>IX 100</c:v>
                </c:pt>
                <c:pt idx="5">
                  <c:v/>
                </c:pt>
                <c:pt idx="6">
                  <c:v>IX 100</c:v>
                </c:pt>
              </c:strCache>
            </c:strRef>
          </c:cat>
          <c:val>
            <c:numRef>
              <c:f>Sheet1!$C$2:$C$8</c:f>
              <c:numCache>
                <c:formatCode>General</c:formatCode>
                <c:ptCount val="7"/>
                <c:pt idx="0">
                  <c:v>2.42</c:v>
                </c:pt>
                <c:pt idx="1">
                  <c:v>2.08</c:v>
                </c:pt>
                <c:pt idx="2">
                  <c:v>0.33</c:v>
                </c:pt>
                <c:pt idx="4">
                  <c:v>1.62</c:v>
                </c:pt>
                <c:pt idx="6">
                  <c:v>0.7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0</c:v>
                </c:pt>
                <c:pt idx="2">
                  <c:v>IX 11</c:v>
                </c:pt>
                <c:pt idx="3">
                  <c:v/>
                </c:pt>
                <c:pt idx="4">
                  <c:v>IX 100</c:v>
                </c:pt>
                <c:pt idx="5">
                  <c:v/>
                </c:pt>
                <c:pt idx="6">
                  <c:v>IX 100</c:v>
                </c:pt>
              </c:strCache>
            </c:strRef>
          </c:cat>
          <c:val>
            <c:numRef>
              <c:f>Sheet1!$D$2:$D$8</c:f>
              <c:numCache>
                <c:formatCode>General</c:formatCode>
                <c:ptCount val="7"/>
                <c:pt idx="0">
                  <c:v>3.93</c:v>
                </c:pt>
                <c:pt idx="1">
                  <c:v>2.61</c:v>
                </c:pt>
                <c:pt idx="2">
                  <c:v>3.13</c:v>
                </c:pt>
                <c:pt idx="4">
                  <c:v>3.67</c:v>
                </c:pt>
                <c:pt idx="5">
                  <c:v>1.14</c:v>
                </c:pt>
                <c:pt idx="6">
                  <c:v>1.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0</c:v>
                </c:pt>
                <c:pt idx="2">
                  <c:v>IX 11</c:v>
                </c:pt>
                <c:pt idx="3">
                  <c:v/>
                </c:pt>
                <c:pt idx="4">
                  <c:v>IX 100</c:v>
                </c:pt>
                <c:pt idx="5">
                  <c:v/>
                </c:pt>
                <c:pt idx="6">
                  <c:v>IX 100</c:v>
                </c:pt>
              </c:strCache>
            </c:strRef>
          </c:cat>
          <c:val>
            <c:numRef>
              <c:f>Sheet1!$E$2:$E$8</c:f>
              <c:numCache>
                <c:formatCode>General</c:formatCode>
                <c:ptCount val="7"/>
                <c:pt idx="0">
                  <c:v>2.3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0</c:v>
                </c:pt>
                <c:pt idx="2">
                  <c:v>IX 11</c:v>
                </c:pt>
                <c:pt idx="3">
                  <c:v/>
                </c:pt>
                <c:pt idx="4">
                  <c:v>IX 100</c:v>
                </c:pt>
                <c:pt idx="5">
                  <c:v/>
                </c:pt>
                <c:pt idx="6">
                  <c:v>IX 100</c:v>
                </c:pt>
              </c:strCache>
            </c:strRef>
          </c:cat>
          <c:val>
            <c:numRef>
              <c:f>Sheet1!$F$2:$F$8</c:f>
              <c:numCache>
                <c:formatCode>General</c:formatCode>
                <c:ptCount val="7"/>
                <c:pt idx="3">
                  <c:v>2.24</c:v>
                </c:pt>
                <c:pt idx="4">
                  <c:v>2.01</c:v>
                </c:pt>
                <c:pt idx="6">
                  <c:v>0.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4299"/>
          <c:min val="-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IX 66</c:v>
                </c:pt>
                <c:pt idx="2">
                  <c:v>IX 114</c:v>
                </c:pt>
                <c:pt idx="3">
                  <c:v>IX 112</c:v>
                </c:pt>
                <c:pt idx="4">
                  <c:v/>
                </c:pt>
                <c:pt idx="5">
                  <c:v>IX 45</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6</a:t>
                    </a:r>
                  </a:p>
                  <a:p>
                    <a:r>
                      <a:t>1.31</a:t>
                    </a:r>
                  </a:p>
                </c:rich>
              </c:tx>
              <c:dLblPos val="l"/>
              <c:showLegendKey val="0"/>
              <c:showVal val="1"/>
              <c:showCatName val="0"/>
              <c:showSerName val="0"/>
              <c:showPercent val="0"/>
              <c:showBubbleSize val="0"/>
            </c:dLbl>
            <c:dLbl>
              <c:idx val="1"/>
              <c:tx>
                <c:rich>
                  <a:bodyPr/>
                  <a:lstStyle/>
                  <a:p>
                    <a:r>
                      <a:t>IX 66</a:t>
                    </a:r>
                  </a:p>
                  <a:p>
                    <a:r>
                      <a:t>0.59</a:t>
                    </a:r>
                  </a:p>
                </c:rich>
              </c:tx>
              <c:dLblPos val="l"/>
              <c:showLegendKey val="0"/>
              <c:showVal val="1"/>
              <c:showCatName val="0"/>
              <c:showSerName val="0"/>
              <c:showPercent val="0"/>
              <c:showBubbleSize val="0"/>
            </c:dLbl>
            <c:dLbl>
              <c:idx val="2"/>
              <c:tx>
                <c:rich>
                  <a:bodyPr/>
                  <a:lstStyle/>
                  <a:p>
                    <a:r>
                      <a:t>IX 114</a:t>
                    </a:r>
                  </a:p>
                  <a:p>
                    <a:r>
                      <a:t>3.5</a:t>
                    </a:r>
                  </a:p>
                </c:rich>
              </c:tx>
              <c:dLblPos val="l"/>
              <c:showLegendKey val="0"/>
              <c:showVal val="1"/>
              <c:showCatName val="0"/>
              <c:showSerName val="0"/>
              <c:showPercent val="0"/>
              <c:showBubbleSize val="0"/>
            </c:dLbl>
            <c:dLbl>
              <c:idx val="3"/>
              <c:tx>
                <c:rich>
                  <a:bodyPr/>
                  <a:lstStyle/>
                  <a:p>
                    <a:r>
                      <a:t>IX 112</a:t>
                    </a:r>
                  </a:p>
                  <a:p>
                    <a:r>
                      <a:t>2.5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45</a:t>
                    </a:r>
                  </a:p>
                  <a:p>
                    <a:r>
                      <a:t>0.82</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IX 66</c:v>
                </c:pt>
                <c:pt idx="2">
                  <c:v>IX 114</c:v>
                </c:pt>
                <c:pt idx="3">
                  <c:v>IX 112</c:v>
                </c:pt>
                <c:pt idx="4">
                  <c:v/>
                </c:pt>
                <c:pt idx="5">
                  <c:v>IX 45</c:v>
                </c:pt>
                <c:pt idx="6">
                  <c:v/>
                </c:pt>
              </c:strCache>
            </c:strRef>
          </c:cat>
          <c:val>
            <c:numRef>
              <c:f>Sheet1!$C$2:$C$8</c:f>
              <c:numCache>
                <c:formatCode>General</c:formatCode>
                <c:ptCount val="7"/>
                <c:pt idx="0">
                  <c:v>1.31</c:v>
                </c:pt>
                <c:pt idx="1">
                  <c:v>0.59</c:v>
                </c:pt>
                <c:pt idx="2">
                  <c:v>3.5</c:v>
                </c:pt>
                <c:pt idx="3">
                  <c:v>2.53</c:v>
                </c:pt>
                <c:pt idx="5">
                  <c:v>0.8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IX 66</c:v>
                </c:pt>
                <c:pt idx="2">
                  <c:v>IX 114</c:v>
                </c:pt>
                <c:pt idx="3">
                  <c:v>IX 112</c:v>
                </c:pt>
                <c:pt idx="4">
                  <c:v/>
                </c:pt>
                <c:pt idx="5">
                  <c:v>IX 45</c:v>
                </c:pt>
                <c:pt idx="6">
                  <c:v/>
                </c:pt>
              </c:strCache>
            </c:strRef>
          </c:cat>
          <c:val>
            <c:numRef>
              <c:f>Sheet1!$D$2:$D$8</c:f>
              <c:numCache>
                <c:formatCode>General</c:formatCode>
                <c:ptCount val="7"/>
                <c:pt idx="0">
                  <c:v>1.73</c:v>
                </c:pt>
                <c:pt idx="1">
                  <c:v>0.9</c:v>
                </c:pt>
                <c:pt idx="2">
                  <c:v>5.54</c:v>
                </c:pt>
                <c:pt idx="4">
                  <c:v>0.65</c:v>
                </c:pt>
                <c:pt idx="5">
                  <c:v>1.8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IX 66</c:v>
                </c:pt>
                <c:pt idx="2">
                  <c:v>IX 114</c:v>
                </c:pt>
                <c:pt idx="3">
                  <c:v>IX 112</c:v>
                </c:pt>
                <c:pt idx="4">
                  <c:v/>
                </c:pt>
                <c:pt idx="5">
                  <c:v>IX 45</c:v>
                </c:pt>
                <c:pt idx="6">
                  <c:v/>
                </c:pt>
              </c:strCache>
            </c:strRef>
          </c:cat>
          <c:val>
            <c:numRef>
              <c:f>Sheet1!$E$2:$E$8</c:f>
              <c:numCache>
                <c:formatCode>General</c:formatCode>
                <c:ptCount val="7"/>
                <c:pt idx="0">
                  <c:v>1.27</c:v>
                </c:pt>
                <c:pt idx="1">
                  <c:v>0.51</c:v>
                </c:pt>
                <c:pt idx="2">
                  <c:v>3.07</c:v>
                </c:pt>
                <c:pt idx="3">
                  <c:v>2.26</c:v>
                </c:pt>
                <c:pt idx="4">
                  <c:v>0.3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IX 66</c:v>
                </c:pt>
                <c:pt idx="2">
                  <c:v>IX 114</c:v>
                </c:pt>
                <c:pt idx="3">
                  <c:v>IX 112</c:v>
                </c:pt>
                <c:pt idx="4">
                  <c:v/>
                </c:pt>
                <c:pt idx="5">
                  <c:v>IX 45</c:v>
                </c:pt>
                <c:pt idx="6">
                  <c:v/>
                </c:pt>
              </c:strCache>
            </c:strRef>
          </c:cat>
          <c:val>
            <c:numRef>
              <c:f>Sheet1!$F$2:$F$8</c:f>
              <c:numCache>
                <c:formatCode>General</c:formatCode>
                <c:ptCount val="7"/>
                <c:pt idx="0">
                  <c:v>0.99</c:v>
                </c:pt>
                <c:pt idx="1">
                  <c:v>0.23</c:v>
                </c:pt>
                <c:pt idx="2">
                  <c:v>1.92</c:v>
                </c:pt>
                <c:pt idx="3">
                  <c:v>1.64</c:v>
                </c:pt>
                <c:pt idx="4">
                  <c:v>0.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0378"/>
          <c:min val="-0.30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B$2:$B$5</c:f>
              <c:numCache>
                <c:formatCode>General</c:formatCode>
                <c:ptCount val="4"/>
                <c:pt idx="0">
                  <c:v>3.15</c:v>
                </c:pt>
                <c:pt idx="1">
                  <c:v>1.53</c:v>
                </c:pt>
                <c:pt idx="2">
                  <c:v>1.8</c:v>
                </c:pt>
                <c:pt idx="3">
                  <c:v>0.7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C$2:$C$5</c:f>
              <c:numCache>
                <c:formatCode>General</c:formatCode>
                <c:ptCount val="4"/>
                <c:pt idx="2">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D$2:$D$5</c:f>
              <c:numCache>
                <c:formatCode>General</c:formatCode>
                <c:ptCount val="4"/>
                <c:pt idx="0">
                  <c:v>3.36</c:v>
                </c:pt>
                <c:pt idx="1">
                  <c:v>0.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E$2:$E$5</c:f>
              <c:numCache>
                <c:formatCode>General</c:formatCode>
                <c:ptCount val="4"/>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F$2:$F$5</c:f>
              <c:numCache>
                <c:formatCode>General</c:formatCode>
                <c:ptCount val="4"/>
                <c:pt idx="3">
                  <c:v>0.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8"/>
          <c:min val="-0.06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0.61</c:v>
                </c:pt>
                <c:pt idx="1">
                  <c:v>0.91</c:v>
                </c:pt>
                <c:pt idx="2">
                  <c:v>1.97</c:v>
                </c:pt>
                <c:pt idx="3">
                  <c:v>0.05</c:v>
                </c:pt>
                <c:pt idx="4">
                  <c:v>0.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0.9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0.61</c:v>
                </c:pt>
                <c:pt idx="1">
                  <c:v>0.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0">
                  <c:v>0.3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pt idx="1">
                  <c:v>0.65</c:v>
                </c:pt>
                <c:pt idx="2">
                  <c:v>1.97</c:v>
                </c:pt>
                <c:pt idx="3">
                  <c:v>0.05</c:v>
                </c:pt>
                <c:pt idx="4">
                  <c:v>0.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680999999999997"/>
          <c:min val="-0.446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1.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
                </c:pt>
              </c:strCache>
            </c:strRef>
          </c:cat>
          <c:val>
            <c:numRef>
              <c:f>Sheet1!$C$2:$C$3</c:f>
              <c:numCache>
                <c:formatCode>General</c:formatCode>
                <c:ptCount val="2"/>
                <c:pt idx="0">
                  <c:v>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0</c:v>
                </c:pt>
                <c:pt idx="2">
                  <c:v/>
                </c:pt>
                <c:pt idx="3">
                  <c:v/>
                </c:pt>
                <c:pt idx="4">
                  <c:v>IX 9</c:v>
                </c:pt>
                <c:pt idx="5">
                  <c:v/>
                </c:pt>
                <c:pt idx="6">
                  <c:v>IX 83</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6</a:t>
                    </a:r>
                  </a:p>
                  <a:p>
                    <a:r>
                      <a:t>3.23</a:t>
                    </a:r>
                  </a:p>
                </c:rich>
              </c:tx>
              <c:dLblPos val="l"/>
              <c:showLegendKey val="0"/>
              <c:showVal val="1"/>
              <c:showCatName val="0"/>
              <c:showSerName val="0"/>
              <c:showPercent val="0"/>
              <c:showBubbleSize val="0"/>
            </c:dLbl>
            <c:dLbl>
              <c:idx val="1"/>
              <c:tx>
                <c:rich>
                  <a:bodyPr/>
                  <a:lstStyle/>
                  <a:p>
                    <a:r>
                      <a:t>IX 60</a:t>
                    </a:r>
                  </a:p>
                  <a:p>
                    <a:r>
                      <a:t>2.3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a:t>
                    </a:r>
                  </a:p>
                  <a:p>
                    <a:r>
                      <a:t>2.41</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83</a:t>
                    </a:r>
                  </a:p>
                  <a:p>
                    <a:r>
                      <a:t>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0</c:v>
                </c:pt>
                <c:pt idx="2">
                  <c:v/>
                </c:pt>
                <c:pt idx="3">
                  <c:v/>
                </c:pt>
                <c:pt idx="4">
                  <c:v>IX 9</c:v>
                </c:pt>
                <c:pt idx="5">
                  <c:v/>
                </c:pt>
                <c:pt idx="6">
                  <c:v>IX 83</c:v>
                </c:pt>
              </c:strCache>
            </c:strRef>
          </c:cat>
          <c:val>
            <c:numRef>
              <c:f>Sheet1!$C$2:$C$8</c:f>
              <c:numCache>
                <c:formatCode>General</c:formatCode>
                <c:ptCount val="7"/>
                <c:pt idx="0">
                  <c:v>3.23</c:v>
                </c:pt>
                <c:pt idx="1">
                  <c:v>2.38</c:v>
                </c:pt>
                <c:pt idx="4">
                  <c:v>2.41</c:v>
                </c:pt>
                <c:pt idx="6">
                  <c:v>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0</c:v>
                </c:pt>
                <c:pt idx="2">
                  <c:v/>
                </c:pt>
                <c:pt idx="3">
                  <c:v/>
                </c:pt>
                <c:pt idx="4">
                  <c:v>IX 9</c:v>
                </c:pt>
                <c:pt idx="5">
                  <c:v/>
                </c:pt>
                <c:pt idx="6">
                  <c:v>IX 83</c:v>
                </c:pt>
              </c:strCache>
            </c:strRef>
          </c:cat>
          <c:val>
            <c:numRef>
              <c:f>Sheet1!$D$2:$D$8</c:f>
              <c:numCache>
                <c:formatCode>General</c:formatCode>
                <c:ptCount val="7"/>
                <c:pt idx="0">
                  <c:v>5.75</c:v>
                </c:pt>
                <c:pt idx="1">
                  <c:v>3.94</c:v>
                </c:pt>
                <c:pt idx="3">
                  <c:v>6.4</c:v>
                </c:pt>
                <c:pt idx="4">
                  <c:v>25.48</c:v>
                </c:pt>
                <c:pt idx="5">
                  <c:v>2.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0</c:v>
                </c:pt>
                <c:pt idx="2">
                  <c:v/>
                </c:pt>
                <c:pt idx="3">
                  <c:v/>
                </c:pt>
                <c:pt idx="4">
                  <c:v>IX 9</c:v>
                </c:pt>
                <c:pt idx="5">
                  <c:v/>
                </c:pt>
                <c:pt idx="6">
                  <c:v>IX 83</c:v>
                </c:pt>
              </c:strCache>
            </c:strRef>
          </c:cat>
          <c:val>
            <c:numRef>
              <c:f>Sheet1!$E$2:$E$8</c:f>
              <c:numCache>
                <c:formatCode>General</c:formatCode>
                <c:ptCount val="7"/>
                <c:pt idx="0">
                  <c:v>4.33</c:v>
                </c:pt>
                <c:pt idx="4">
                  <c:v>3.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0</c:v>
                </c:pt>
                <c:pt idx="2">
                  <c:v/>
                </c:pt>
                <c:pt idx="3">
                  <c:v/>
                </c:pt>
                <c:pt idx="4">
                  <c:v>IX 9</c:v>
                </c:pt>
                <c:pt idx="5">
                  <c:v/>
                </c:pt>
                <c:pt idx="6">
                  <c:v>IX 83</c:v>
                </c:pt>
              </c:strCache>
            </c:strRef>
          </c:cat>
          <c:val>
            <c:numRef>
              <c:f>Sheet1!$F$2:$F$8</c:f>
              <c:numCache>
                <c:formatCode>General</c:formatCode>
                <c:ptCount val="7"/>
                <c:pt idx="2">
                  <c:v>4.48</c:v>
                </c:pt>
                <c:pt idx="3">
                  <c:v>1.75</c:v>
                </c:pt>
                <c:pt idx="4">
                  <c:v>2.53</c:v>
                </c:pt>
                <c:pt idx="6">
                  <c:v>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784"/>
          <c:min val="1.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0</c:v>
                </c:pt>
                <c:pt idx="2">
                  <c:v/>
                </c:pt>
                <c:pt idx="3">
                  <c:v>IX 0</c:v>
                </c:pt>
                <c:pt idx="4">
                  <c:v>IX 82</c:v>
                </c:pt>
                <c:pt idx="5">
                  <c:v>IX 100</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5</a:t>
                    </a:r>
                  </a:p>
                  <a:p>
                    <a:r>
                      <a:t>2.33</a:t>
                    </a:r>
                  </a:p>
                </c:rich>
              </c:tx>
              <c:dLblPos val="l"/>
              <c:showLegendKey val="0"/>
              <c:showVal val="1"/>
              <c:showCatName val="0"/>
              <c:showSerName val="0"/>
              <c:showPercent val="0"/>
              <c:showBubbleSize val="0"/>
            </c:dLbl>
            <c:dLbl>
              <c:idx val="1"/>
              <c:tx>
                <c:rich>
                  <a:bodyPr/>
                  <a:lstStyle/>
                  <a:p>
                    <a:r>
                      <a:t>IX 60</a:t>
                    </a:r>
                  </a:p>
                  <a:p>
                    <a:r>
                      <a:t>1.6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0</a:t>
                    </a:r>
                  </a:p>
                  <a:p>
                    <a:r>
                      <a:t>None</a:t>
                    </a:r>
                  </a:p>
                </c:rich>
              </c:tx>
              <c:dLblPos val="l"/>
              <c:showLegendKey val="0"/>
              <c:showVal val="1"/>
              <c:showCatName val="0"/>
              <c:showSerName val="0"/>
              <c:showPercent val="0"/>
              <c:showBubbleSize val="0"/>
            </c:dLbl>
            <c:dLbl>
              <c:idx val="4"/>
              <c:tx>
                <c:rich>
                  <a:bodyPr/>
                  <a:lstStyle/>
                  <a:p>
                    <a:r>
                      <a:t>IX 82</a:t>
                    </a:r>
                  </a:p>
                  <a:p>
                    <a:r>
                      <a:t>0.68</a:t>
                    </a:r>
                  </a:p>
                </c:rich>
              </c:tx>
              <c:dLblPos val="l"/>
              <c:showLegendKey val="0"/>
              <c:showVal val="1"/>
              <c:showCatName val="0"/>
              <c:showSerName val="0"/>
              <c:showPercent val="0"/>
              <c:showBubbleSize val="0"/>
            </c:dLbl>
            <c:dLbl>
              <c:idx val="5"/>
              <c:tx>
                <c:rich>
                  <a:bodyPr/>
                  <a:lstStyle/>
                  <a:p>
                    <a:r>
                      <a:t>IX 100</a:t>
                    </a:r>
                  </a:p>
                  <a:p>
                    <a:r>
                      <a:t>0.12</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0</c:v>
                </c:pt>
                <c:pt idx="2">
                  <c:v/>
                </c:pt>
                <c:pt idx="3">
                  <c:v>IX 0</c:v>
                </c:pt>
                <c:pt idx="4">
                  <c:v>IX 82</c:v>
                </c:pt>
                <c:pt idx="5">
                  <c:v>IX 100</c:v>
                </c:pt>
                <c:pt idx="6">
                  <c:v/>
                </c:pt>
              </c:strCache>
            </c:strRef>
          </c:cat>
          <c:val>
            <c:numRef>
              <c:f>Sheet1!$C$2:$C$8</c:f>
              <c:numCache>
                <c:formatCode>General</c:formatCode>
                <c:ptCount val="7"/>
                <c:pt idx="0">
                  <c:v>2.33</c:v>
                </c:pt>
                <c:pt idx="1">
                  <c:v>1.67</c:v>
                </c:pt>
                <c:pt idx="4">
                  <c:v>0.68</c:v>
                </c:pt>
                <c:pt idx="5">
                  <c:v>0.1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0</c:v>
                </c:pt>
                <c:pt idx="2">
                  <c:v/>
                </c:pt>
                <c:pt idx="3">
                  <c:v>IX 0</c:v>
                </c:pt>
                <c:pt idx="4">
                  <c:v>IX 82</c:v>
                </c:pt>
                <c:pt idx="5">
                  <c:v>IX 100</c:v>
                </c:pt>
                <c:pt idx="6">
                  <c:v/>
                </c:pt>
              </c:strCache>
            </c:strRef>
          </c:cat>
          <c:val>
            <c:numRef>
              <c:f>Sheet1!$D$2:$D$8</c:f>
              <c:numCache>
                <c:formatCode>General</c:formatCode>
                <c:ptCount val="7"/>
                <c:pt idx="0">
                  <c:v>4.21</c:v>
                </c:pt>
                <c:pt idx="1">
                  <c:v>2.8</c:v>
                </c:pt>
                <c:pt idx="3">
                  <c:v>3.23</c:v>
                </c:pt>
                <c:pt idx="5">
                  <c:v>0.4</c:v>
                </c:pt>
                <c:pt idx="6">
                  <c:v>0.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0</c:v>
                </c:pt>
                <c:pt idx="2">
                  <c:v/>
                </c:pt>
                <c:pt idx="3">
                  <c:v>IX 0</c:v>
                </c:pt>
                <c:pt idx="4">
                  <c:v>IX 82</c:v>
                </c:pt>
                <c:pt idx="5">
                  <c:v>IX 100</c:v>
                </c:pt>
                <c:pt idx="6">
                  <c:v/>
                </c:pt>
              </c:strCache>
            </c:strRef>
          </c:cat>
          <c:val>
            <c:numRef>
              <c:f>Sheet1!$E$2:$E$8</c:f>
              <c:numCache>
                <c:formatCode>General</c:formatCode>
                <c:ptCount val="7"/>
                <c:pt idx="0">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0</c:v>
                </c:pt>
                <c:pt idx="2">
                  <c:v/>
                </c:pt>
                <c:pt idx="3">
                  <c:v>IX 0</c:v>
                </c:pt>
                <c:pt idx="4">
                  <c:v>IX 82</c:v>
                </c:pt>
                <c:pt idx="5">
                  <c:v>IX 100</c:v>
                </c:pt>
                <c:pt idx="6">
                  <c:v/>
                </c:pt>
              </c:strCache>
            </c:strRef>
          </c:cat>
          <c:val>
            <c:numRef>
              <c:f>Sheet1!$F$2:$F$8</c:f>
              <c:numCache>
                <c:formatCode>General</c:formatCode>
                <c:ptCount val="7"/>
                <c:pt idx="2">
                  <c:v>2.19</c:v>
                </c:pt>
                <c:pt idx="4">
                  <c:v>0.83</c:v>
                </c:pt>
                <c:pt idx="5">
                  <c:v>0.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05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0</c:v>
                </c:pt>
                <c:pt idx="1">
                  <c:v>IX 61</c:v>
                </c:pt>
                <c:pt idx="2">
                  <c:v>IX 68</c:v>
                </c:pt>
                <c:pt idx="3">
                  <c:v/>
                </c:pt>
                <c:pt idx="4">
                  <c:v>IX 47</c:v>
                </c:pt>
                <c:pt idx="5">
                  <c:v>IX 100</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1.39</a:t>
                    </a:r>
                  </a:p>
                </c:rich>
              </c:tx>
              <c:dLblPos val="l"/>
              <c:showLegendKey val="0"/>
              <c:showVal val="1"/>
              <c:showCatName val="0"/>
              <c:showSerName val="0"/>
              <c:showPercent val="0"/>
              <c:showBubbleSize val="0"/>
            </c:dLbl>
            <c:dLbl>
              <c:idx val="1"/>
              <c:tx>
                <c:rich>
                  <a:bodyPr/>
                  <a:lstStyle/>
                  <a:p>
                    <a:r>
                      <a:t>IX 61</a:t>
                    </a:r>
                  </a:p>
                  <a:p>
                    <a:r>
                      <a:t>0.54</a:t>
                    </a:r>
                  </a:p>
                </c:rich>
              </c:tx>
              <c:dLblPos val="l"/>
              <c:showLegendKey val="0"/>
              <c:showVal val="1"/>
              <c:showCatName val="0"/>
              <c:showSerName val="0"/>
              <c:showPercent val="0"/>
              <c:showBubbleSize val="0"/>
            </c:dLbl>
            <c:dLbl>
              <c:idx val="2"/>
              <c:tx>
                <c:rich>
                  <a:bodyPr/>
                  <a:lstStyle/>
                  <a:p>
                    <a:r>
                      <a:t>IX 68</a:t>
                    </a:r>
                  </a:p>
                  <a:p>
                    <a:r>
                      <a:t>1.2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7</a:t>
                    </a:r>
                  </a:p>
                  <a:p>
                    <a:r>
                      <a:t>1.04</a:t>
                    </a:r>
                  </a:p>
                </c:rich>
              </c:tx>
              <c:dLblPos val="l"/>
              <c:showLegendKey val="0"/>
              <c:showVal val="1"/>
              <c:showCatName val="0"/>
              <c:showSerName val="0"/>
              <c:showPercent val="0"/>
              <c:showBubbleSize val="0"/>
            </c:dLbl>
            <c:dLbl>
              <c:idx val="5"/>
              <c:tx>
                <c:rich>
                  <a:bodyPr/>
                  <a:lstStyle/>
                  <a:p>
                    <a:r>
                      <a:t>IX 100</a:t>
                    </a:r>
                  </a:p>
                  <a:p>
                    <a:r>
                      <a:t>1.0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0</c:v>
                </c:pt>
                <c:pt idx="1">
                  <c:v>IX 61</c:v>
                </c:pt>
                <c:pt idx="2">
                  <c:v>IX 68</c:v>
                </c:pt>
                <c:pt idx="3">
                  <c:v/>
                </c:pt>
                <c:pt idx="4">
                  <c:v>IX 47</c:v>
                </c:pt>
                <c:pt idx="5">
                  <c:v>IX 100</c:v>
                </c:pt>
              </c:strCache>
            </c:strRef>
          </c:cat>
          <c:val>
            <c:numRef>
              <c:f>Sheet1!$C$2:$C$7</c:f>
              <c:numCache>
                <c:formatCode>General</c:formatCode>
                <c:ptCount val="6"/>
                <c:pt idx="0">
                  <c:v>1.39</c:v>
                </c:pt>
                <c:pt idx="1">
                  <c:v>0.54</c:v>
                </c:pt>
                <c:pt idx="2">
                  <c:v>1.25</c:v>
                </c:pt>
                <c:pt idx="4">
                  <c:v>1.04</c:v>
                </c:pt>
                <c:pt idx="5">
                  <c:v>1.0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0</c:v>
                </c:pt>
                <c:pt idx="1">
                  <c:v>IX 61</c:v>
                </c:pt>
                <c:pt idx="2">
                  <c:v>IX 68</c:v>
                </c:pt>
                <c:pt idx="3">
                  <c:v/>
                </c:pt>
                <c:pt idx="4">
                  <c:v>IX 47</c:v>
                </c:pt>
                <c:pt idx="5">
                  <c:v>IX 100</c:v>
                </c:pt>
              </c:strCache>
            </c:strRef>
          </c:cat>
          <c:val>
            <c:numRef>
              <c:f>Sheet1!$D$2:$D$7</c:f>
              <c:numCache>
                <c:formatCode>General</c:formatCode>
                <c:ptCount val="6"/>
                <c:pt idx="0">
                  <c:v>1.73</c:v>
                </c:pt>
                <c:pt idx="1">
                  <c:v>0.89</c:v>
                </c:pt>
                <c:pt idx="2">
                  <c:v>4.99</c:v>
                </c:pt>
                <c:pt idx="5">
                  <c:v>1.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0</c:v>
                </c:pt>
                <c:pt idx="1">
                  <c:v>IX 61</c:v>
                </c:pt>
                <c:pt idx="2">
                  <c:v>IX 68</c:v>
                </c:pt>
                <c:pt idx="3">
                  <c:v/>
                </c:pt>
                <c:pt idx="4">
                  <c:v>IX 47</c:v>
                </c:pt>
                <c:pt idx="5">
                  <c:v>IX 100</c:v>
                </c:pt>
              </c:strCache>
            </c:strRef>
          </c:cat>
          <c:val>
            <c:numRef>
              <c:f>Sheet1!$E$2:$E$7</c:f>
              <c:numCache>
                <c:formatCode>General</c:formatCode>
                <c:ptCount val="6"/>
                <c:pt idx="0">
                  <c:v>0.97</c:v>
                </c:pt>
                <c:pt idx="1">
                  <c:v>0.19</c:v>
                </c:pt>
                <c:pt idx="2">
                  <c:v>1.83</c:v>
                </c:pt>
                <c:pt idx="4">
                  <c:v>0.7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0</c:v>
                </c:pt>
                <c:pt idx="1">
                  <c:v>IX 61</c:v>
                </c:pt>
                <c:pt idx="2">
                  <c:v>IX 68</c:v>
                </c:pt>
                <c:pt idx="3">
                  <c:v/>
                </c:pt>
                <c:pt idx="4">
                  <c:v>IX 47</c:v>
                </c:pt>
                <c:pt idx="5">
                  <c:v>IX 100</c:v>
                </c:pt>
              </c:strCache>
            </c:strRef>
          </c:cat>
          <c:val>
            <c:numRef>
              <c:f>Sheet1!$F$2:$F$7</c:f>
              <c:numCache>
                <c:formatCode>General</c:formatCode>
                <c:ptCount val="6"/>
                <c:pt idx="0">
                  <c:v>1.03</c:v>
                </c:pt>
                <c:pt idx="1">
                  <c:v>0.59</c:v>
                </c:pt>
                <c:pt idx="2">
                  <c:v>2.85</c:v>
                </c:pt>
                <c:pt idx="3">
                  <c:v>0.29</c:v>
                </c:pt>
                <c:pt idx="4">
                  <c:v>2.1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895"/>
          <c:min val="-0.31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7</c:v>
                </c:pt>
                <c:pt idx="1">
                  <c:v/>
                </c:pt>
                <c:pt idx="2">
                  <c:v/>
                </c:pt>
                <c:pt idx="3">
                  <c:v/>
                </c:pt>
                <c:pt idx="4">
                  <c:v>IX 12</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7</a:t>
                    </a:r>
                  </a:p>
                  <a:p>
                    <a:r>
                      <a:t>5.6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2</a:t>
                    </a:r>
                  </a:p>
                  <a:p>
                    <a:r>
                      <a:t>3.41</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7</c:v>
                </c:pt>
                <c:pt idx="1">
                  <c:v/>
                </c:pt>
                <c:pt idx="2">
                  <c:v/>
                </c:pt>
                <c:pt idx="3">
                  <c:v/>
                </c:pt>
                <c:pt idx="4">
                  <c:v>IX 12</c:v>
                </c:pt>
                <c:pt idx="5">
                  <c:v/>
                </c:pt>
                <c:pt idx="6">
                  <c:v/>
                </c:pt>
              </c:strCache>
            </c:strRef>
          </c:cat>
          <c:val>
            <c:numRef>
              <c:f>Sheet1!$C$2:$C$8</c:f>
              <c:numCache>
                <c:formatCode>General</c:formatCode>
                <c:ptCount val="7"/>
                <c:pt idx="0">
                  <c:v>5.68</c:v>
                </c:pt>
                <c:pt idx="4">
                  <c:v>3.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7</c:v>
                </c:pt>
                <c:pt idx="1">
                  <c:v/>
                </c:pt>
                <c:pt idx="2">
                  <c:v/>
                </c:pt>
                <c:pt idx="3">
                  <c:v/>
                </c:pt>
                <c:pt idx="4">
                  <c:v>IX 12</c:v>
                </c:pt>
                <c:pt idx="5">
                  <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7</c:v>
                </c:pt>
                <c:pt idx="1">
                  <c:v/>
                </c:pt>
                <c:pt idx="2">
                  <c:v/>
                </c:pt>
                <c:pt idx="3">
                  <c:v/>
                </c:pt>
                <c:pt idx="4">
                  <c:v>IX 12</c:v>
                </c:pt>
                <c:pt idx="5">
                  <c:v/>
                </c:pt>
                <c:pt idx="6">
                  <c:v/>
                </c:pt>
              </c:strCache>
            </c:strRef>
          </c:cat>
          <c:val>
            <c:numRef>
              <c:f>Sheet1!$E$2:$E$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7</c:v>
                </c:pt>
                <c:pt idx="1">
                  <c:v/>
                </c:pt>
                <c:pt idx="2">
                  <c:v/>
                </c:pt>
                <c:pt idx="3">
                  <c:v/>
                </c:pt>
                <c:pt idx="4">
                  <c:v>IX 12</c:v>
                </c:pt>
                <c:pt idx="5">
                  <c:v/>
                </c:pt>
                <c:pt idx="6">
                  <c:v/>
                </c:pt>
              </c:strCache>
            </c:strRef>
          </c:cat>
          <c:val>
            <c:numRef>
              <c:f>Sheet1!$F$2:$F$8</c:f>
              <c:numCache>
                <c:formatCode>General</c:formatCode>
                <c:ptCount val="7"/>
                <c:pt idx="4">
                  <c:v>46.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2.4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
                </c:pt>
                <c:pt idx="2">
                  <c:v/>
                </c:pt>
                <c:pt idx="3">
                  <c:v/>
                </c:pt>
                <c:pt idx="4">
                  <c:v>IX 36</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6</a:t>
                    </a:r>
                  </a:p>
                  <a:p>
                    <a:r>
                      <a:t>3.2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36</a:t>
                    </a:r>
                  </a:p>
                  <a:p>
                    <a:r>
                      <a:t>9.9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
                </c:pt>
                <c:pt idx="2">
                  <c:v/>
                </c:pt>
                <c:pt idx="3">
                  <c:v/>
                </c:pt>
                <c:pt idx="4">
                  <c:v>IX 36</c:v>
                </c:pt>
                <c:pt idx="5">
                  <c:v/>
                </c:pt>
                <c:pt idx="6">
                  <c:v/>
                </c:pt>
              </c:strCache>
            </c:strRef>
          </c:cat>
          <c:val>
            <c:numRef>
              <c:f>Sheet1!$C$2:$C$8</c:f>
              <c:numCache>
                <c:formatCode>General</c:formatCode>
                <c:ptCount val="7"/>
                <c:pt idx="0">
                  <c:v>3.28</c:v>
                </c:pt>
                <c:pt idx="4">
                  <c:v>9.9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
                </c:pt>
                <c:pt idx="2">
                  <c:v/>
                </c:pt>
                <c:pt idx="3">
                  <c:v/>
                </c:pt>
                <c:pt idx="4">
                  <c:v>IX 36</c:v>
                </c:pt>
                <c:pt idx="5">
                  <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
                </c:pt>
                <c:pt idx="2">
                  <c:v/>
                </c:pt>
                <c:pt idx="3">
                  <c:v/>
                </c:pt>
                <c:pt idx="4">
                  <c:v>IX 36</c:v>
                </c:pt>
                <c:pt idx="5">
                  <c:v/>
                </c:pt>
                <c:pt idx="6">
                  <c:v/>
                </c:pt>
              </c:strCache>
            </c:strRef>
          </c:cat>
          <c:val>
            <c:numRef>
              <c:f>Sheet1!$E$2:$E$8</c:f>
              <c:numCache>
                <c:formatCode>General</c:formatCode>
                <c:ptCount val="7"/>
                <c:pt idx="4">
                  <c:v>46.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
                </c:pt>
                <c:pt idx="2">
                  <c:v/>
                </c:pt>
                <c:pt idx="3">
                  <c:v/>
                </c:pt>
                <c:pt idx="4">
                  <c:v>IX 36</c:v>
                </c:pt>
                <c:pt idx="5">
                  <c:v/>
                </c:pt>
                <c:pt idx="6">
                  <c:v/>
                </c:pt>
              </c:strCache>
            </c:strRef>
          </c:cat>
          <c:val>
            <c:numRef>
              <c:f>Sheet1!$F$2:$F$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2.4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0</a:t>
                    </a:r>
                  </a:p>
                  <a:p>
                    <a:r>
                      <a:t>2.51</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C$2:$C$8</c:f>
              <c:numCache>
                <c:formatCode>General</c:formatCode>
                <c:ptCount val="7"/>
                <c:pt idx="5">
                  <c:v>2.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E$2:$E$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F$2:$F$8</c:f>
              <c:numCache>
                <c:formatCode>General</c:formatCode>
                <c:ptCount val="7"/>
                <c:pt idx="4">
                  <c:v>46.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2.0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2.8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C$2:$C$8</c:f>
              <c:numCache>
                <c:formatCode>General</c:formatCode>
                <c:ptCount val="7"/>
                <c:pt idx="1">
                  <c:v>2.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E$2:$E$8</c:f>
              <c:numCache>
                <c:formatCode>General</c:formatCode>
                <c:ptCount val="7"/>
                <c:pt idx="4">
                  <c:v>46.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F$2:$F$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2.39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3.3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C$2:$C$8</c:f>
              <c:numCache>
                <c:formatCode>General</c:formatCode>
                <c:ptCount val="7"/>
                <c:pt idx="1">
                  <c:v>3.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E$2:$E$8</c:f>
              <c:numCache>
                <c:formatCode>General</c:formatCode>
                <c:ptCount val="7"/>
                <c:pt idx="4">
                  <c:v>46.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F$2:$F$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2.4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
                </c:pt>
                <c:pt idx="2">
                  <c:v/>
                </c:pt>
                <c:pt idx="3">
                  <c:v/>
                </c:pt>
                <c:pt idx="4">
                  <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1</a:t>
                    </a:r>
                  </a:p>
                  <a:p>
                    <a:r>
                      <a:t>3.5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
                </c:pt>
                <c:pt idx="2">
                  <c:v/>
                </c:pt>
                <c:pt idx="3">
                  <c:v/>
                </c:pt>
                <c:pt idx="4">
                  <c:v/>
                </c:pt>
                <c:pt idx="5">
                  <c:v/>
                </c:pt>
                <c:pt idx="6">
                  <c:v/>
                </c:pt>
              </c:strCache>
            </c:strRef>
          </c:cat>
          <c:val>
            <c:numRef>
              <c:f>Sheet1!$C$2:$C$8</c:f>
              <c:numCache>
                <c:formatCode>General</c:formatCode>
                <c:ptCount val="7"/>
                <c:pt idx="0">
                  <c:v>3.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
                </c:pt>
                <c:pt idx="2">
                  <c:v/>
                </c:pt>
                <c:pt idx="3">
                  <c:v/>
                </c:pt>
                <c:pt idx="4">
                  <c:v/>
                </c:pt>
                <c:pt idx="5">
                  <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
                </c:pt>
                <c:pt idx="2">
                  <c:v/>
                </c:pt>
                <c:pt idx="3">
                  <c:v/>
                </c:pt>
                <c:pt idx="4">
                  <c:v/>
                </c:pt>
                <c:pt idx="5">
                  <c:v/>
                </c:pt>
                <c:pt idx="6">
                  <c:v/>
                </c:pt>
              </c:strCache>
            </c:strRef>
          </c:cat>
          <c:val>
            <c:numRef>
              <c:f>Sheet1!$E$2:$E$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
                </c:pt>
                <c:pt idx="2">
                  <c:v/>
                </c:pt>
                <c:pt idx="3">
                  <c:v/>
                </c:pt>
                <c:pt idx="4">
                  <c:v/>
                </c:pt>
                <c:pt idx="5">
                  <c:v/>
                </c:pt>
                <c:pt idx="6">
                  <c:v/>
                </c:pt>
              </c:strCache>
            </c:strRef>
          </c:cat>
          <c:val>
            <c:numRef>
              <c:f>Sheet1!$F$2:$F$8</c:f>
              <c:numCache>
                <c:formatCode>General</c:formatCode>
                <c:ptCount val="7"/>
                <c:pt idx="4">
                  <c:v>46.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2.4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2</c:v>
                </c:pt>
                <c:pt idx="1">
                  <c:v/>
                </c:pt>
                <c:pt idx="2">
                  <c:v/>
                </c:pt>
                <c:pt idx="3">
                  <c:v/>
                </c:pt>
                <c:pt idx="4">
                  <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4.2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2</c:v>
                </c:pt>
                <c:pt idx="1">
                  <c:v/>
                </c:pt>
                <c:pt idx="2">
                  <c:v/>
                </c:pt>
                <c:pt idx="3">
                  <c:v/>
                </c:pt>
                <c:pt idx="4">
                  <c:v/>
                </c:pt>
                <c:pt idx="5">
                  <c:v/>
                </c:pt>
                <c:pt idx="6">
                  <c:v/>
                </c:pt>
              </c:strCache>
            </c:strRef>
          </c:cat>
          <c:val>
            <c:numRef>
              <c:f>Sheet1!$C$2:$C$8</c:f>
              <c:numCache>
                <c:formatCode>General</c:formatCode>
                <c:ptCount val="7"/>
                <c:pt idx="0">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2</c:v>
                </c:pt>
                <c:pt idx="1">
                  <c:v/>
                </c:pt>
                <c:pt idx="2">
                  <c:v/>
                </c:pt>
                <c:pt idx="3">
                  <c:v/>
                </c:pt>
                <c:pt idx="4">
                  <c:v/>
                </c:pt>
                <c:pt idx="5">
                  <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2</c:v>
                </c:pt>
                <c:pt idx="1">
                  <c:v/>
                </c:pt>
                <c:pt idx="2">
                  <c:v/>
                </c:pt>
                <c:pt idx="3">
                  <c:v/>
                </c:pt>
                <c:pt idx="4">
                  <c:v/>
                </c:pt>
                <c:pt idx="5">
                  <c:v/>
                </c:pt>
                <c:pt idx="6">
                  <c:v/>
                </c:pt>
              </c:strCache>
            </c:strRef>
          </c:cat>
          <c:val>
            <c:numRef>
              <c:f>Sheet1!$E$2:$E$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2</c:v>
                </c:pt>
                <c:pt idx="1">
                  <c:v/>
                </c:pt>
                <c:pt idx="2">
                  <c:v/>
                </c:pt>
                <c:pt idx="3">
                  <c:v/>
                </c:pt>
                <c:pt idx="4">
                  <c:v/>
                </c:pt>
                <c:pt idx="5">
                  <c:v/>
                </c:pt>
                <c:pt idx="6">
                  <c:v/>
                </c:pt>
              </c:strCache>
            </c:strRef>
          </c:cat>
          <c:val>
            <c:numRef>
              <c:f>Sheet1!$F$2:$F$8</c:f>
              <c:numCache>
                <c:formatCode>General</c:formatCode>
                <c:ptCount val="7"/>
                <c:pt idx="4">
                  <c:v>46.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2.4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71</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a:t>
                    </a:r>
                  </a:p>
                  <a:p>
                    <a:r>
                      <a:t>0.69</a:t>
                    </a:r>
                  </a:p>
                </c:rich>
              </c:tx>
              <c:dLblPos val="l"/>
              <c:showLegendKey val="0"/>
              <c:showVal val="1"/>
              <c:showCatName val="0"/>
              <c:showSerName val="0"/>
              <c:showPercent val="0"/>
              <c:showBubbleSize val="0"/>
            </c:dLbl>
            <c:dLbl>
              <c:idx val="1"/>
              <c:tx>
                <c:rich>
                  <a:bodyPr/>
                  <a:lstStyle/>
                  <a:p>
                    <a:r>
                      <a:t>IX 71</a:t>
                    </a:r>
                  </a:p>
                  <a:p>
                    <a:r>
                      <a:t>0.6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71</c:v>
                </c:pt>
              </c:strCache>
            </c:strRef>
          </c:cat>
          <c:val>
            <c:numRef>
              <c:f>Sheet1!$C$2:$C$3</c:f>
              <c:numCache>
                <c:formatCode>General</c:formatCode>
                <c:ptCount val="2"/>
                <c:pt idx="0">
                  <c:v>0.69</c:v>
                </c:pt>
                <c:pt idx="1">
                  <c:v>0.6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71</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71</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71</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1403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3</c:v>
                </c:pt>
                <c:pt idx="1">
                  <c:v/>
                </c:pt>
                <c:pt idx="2">
                  <c:v/>
                </c:pt>
                <c:pt idx="3">
                  <c:v/>
                </c:pt>
                <c:pt idx="4">
                  <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3</a:t>
                    </a:r>
                  </a:p>
                  <a:p>
                    <a:r>
                      <a:t>1.3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3</c:v>
                </c:pt>
                <c:pt idx="1">
                  <c:v/>
                </c:pt>
                <c:pt idx="2">
                  <c:v/>
                </c:pt>
                <c:pt idx="3">
                  <c:v/>
                </c:pt>
                <c:pt idx="4">
                  <c:v/>
                </c:pt>
                <c:pt idx="5">
                  <c:v/>
                </c:pt>
                <c:pt idx="6">
                  <c:v/>
                </c:pt>
              </c:strCache>
            </c:strRef>
          </c:cat>
          <c:val>
            <c:numRef>
              <c:f>Sheet1!$C$2:$C$8</c:f>
              <c:numCache>
                <c:formatCode>General</c:formatCode>
                <c:ptCount val="7"/>
                <c:pt idx="0">
                  <c:v>1.3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3</c:v>
                </c:pt>
                <c:pt idx="1">
                  <c:v/>
                </c:pt>
                <c:pt idx="2">
                  <c:v/>
                </c:pt>
                <c:pt idx="3">
                  <c:v/>
                </c:pt>
                <c:pt idx="4">
                  <c:v/>
                </c:pt>
                <c:pt idx="5">
                  <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3</c:v>
                </c:pt>
                <c:pt idx="1">
                  <c:v/>
                </c:pt>
                <c:pt idx="2">
                  <c:v/>
                </c:pt>
                <c:pt idx="3">
                  <c:v/>
                </c:pt>
                <c:pt idx="4">
                  <c:v/>
                </c:pt>
                <c:pt idx="5">
                  <c:v/>
                </c:pt>
                <c:pt idx="6">
                  <c:v/>
                </c:pt>
              </c:strCache>
            </c:strRef>
          </c:cat>
          <c:val>
            <c:numRef>
              <c:f>Sheet1!$E$2:$E$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3</c:v>
                </c:pt>
                <c:pt idx="1">
                  <c:v/>
                </c:pt>
                <c:pt idx="2">
                  <c:v/>
                </c:pt>
                <c:pt idx="3">
                  <c:v/>
                </c:pt>
                <c:pt idx="4">
                  <c:v/>
                </c:pt>
                <c:pt idx="5">
                  <c:v/>
                </c:pt>
                <c:pt idx="6">
                  <c:v/>
                </c:pt>
              </c:strCache>
            </c:strRef>
          </c:cat>
          <c:val>
            <c:numRef>
              <c:f>Sheet1!$F$2:$F$8</c:f>
              <c:numCache>
                <c:formatCode>General</c:formatCode>
                <c:ptCount val="7"/>
                <c:pt idx="4">
                  <c:v>46.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0.8684000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1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C$2:$C$8</c:f>
              <c:numCache>
                <c:formatCode>General</c:formatCode>
                <c:ptCount val="7"/>
                <c:pt idx="1">
                  <c:v>1.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E$2:$E$8</c:f>
              <c:numCache>
                <c:formatCode>General</c:formatCode>
                <c:ptCount val="7"/>
                <c:pt idx="4">
                  <c:v>46.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F$2:$F$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0.6578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0</c:v>
                </c:pt>
                <c:pt idx="1">
                  <c:v>IX 100</c:v>
                </c:pt>
                <c:pt idx="2">
                  <c:v/>
                </c:pt>
                <c:pt idx="3">
                  <c:v/>
                </c:pt>
                <c:pt idx="4">
                  <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20</a:t>
                    </a:r>
                  </a:p>
                  <a:p>
                    <a:r>
                      <a:t>6.98</a:t>
                    </a:r>
                  </a:p>
                </c:rich>
              </c:tx>
              <c:dLblPos val="l"/>
              <c:showLegendKey val="0"/>
              <c:showVal val="1"/>
              <c:showCatName val="0"/>
              <c:showSerName val="0"/>
              <c:showPercent val="0"/>
              <c:showBubbleSize val="0"/>
            </c:dLbl>
            <c:dLbl>
              <c:idx val="1"/>
              <c:tx>
                <c:rich>
                  <a:bodyPr/>
                  <a:lstStyle/>
                  <a:p>
                    <a:r>
                      <a:t>IX 100</a:t>
                    </a:r>
                  </a:p>
                  <a:p>
                    <a:r>
                      <a:t>3.5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0</c:v>
                </c:pt>
                <c:pt idx="1">
                  <c:v>IX 100</c:v>
                </c:pt>
                <c:pt idx="2">
                  <c:v/>
                </c:pt>
                <c:pt idx="3">
                  <c:v/>
                </c:pt>
                <c:pt idx="4">
                  <c:v/>
                </c:pt>
                <c:pt idx="5">
                  <c:v/>
                </c:pt>
                <c:pt idx="6">
                  <c:v/>
                </c:pt>
              </c:strCache>
            </c:strRef>
          </c:cat>
          <c:val>
            <c:numRef>
              <c:f>Sheet1!$C$2:$C$8</c:f>
              <c:numCache>
                <c:formatCode>General</c:formatCode>
                <c:ptCount val="7"/>
                <c:pt idx="0">
                  <c:v>6.98</c:v>
                </c:pt>
                <c:pt idx="1">
                  <c:v>3.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0</c:v>
                </c:pt>
                <c:pt idx="1">
                  <c:v>IX 100</c:v>
                </c:pt>
                <c:pt idx="2">
                  <c:v/>
                </c:pt>
                <c:pt idx="3">
                  <c:v/>
                </c:pt>
                <c:pt idx="4">
                  <c:v/>
                </c:pt>
                <c:pt idx="5">
                  <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0</c:v>
                </c:pt>
                <c:pt idx="1">
                  <c:v>IX 100</c:v>
                </c:pt>
                <c:pt idx="2">
                  <c:v/>
                </c:pt>
                <c:pt idx="3">
                  <c:v/>
                </c:pt>
                <c:pt idx="4">
                  <c:v/>
                </c:pt>
                <c:pt idx="5">
                  <c:v/>
                </c:pt>
                <c:pt idx="6">
                  <c:v/>
                </c:pt>
              </c:strCache>
            </c:strRef>
          </c:cat>
          <c:val>
            <c:numRef>
              <c:f>Sheet1!$E$2:$E$8</c:f>
              <c:numCache>
                <c:formatCode>General</c:formatCode>
                <c:ptCount val="7"/>
                <c:pt idx="4">
                  <c:v>46.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0</c:v>
                </c:pt>
                <c:pt idx="1">
                  <c:v>IX 100</c:v>
                </c:pt>
                <c:pt idx="2">
                  <c:v/>
                </c:pt>
                <c:pt idx="3">
                  <c:v/>
                </c:pt>
                <c:pt idx="4">
                  <c:v/>
                </c:pt>
                <c:pt idx="5">
                  <c:v/>
                </c:pt>
                <c:pt idx="6">
                  <c:v/>
                </c:pt>
              </c:strCache>
            </c:strRef>
          </c:cat>
          <c:val>
            <c:numRef>
              <c:f>Sheet1!$F$2:$F$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2.4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9</c:v>
                </c:pt>
                <c:pt idx="1">
                  <c:v>IX 100</c:v>
                </c:pt>
                <c:pt idx="2">
                  <c:v/>
                </c:pt>
                <c:pt idx="3">
                  <c:v/>
                </c:pt>
                <c:pt idx="4">
                  <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9</a:t>
                    </a:r>
                  </a:p>
                  <a:p>
                    <a:r>
                      <a:t>1.11</a:t>
                    </a:r>
                  </a:p>
                </c:rich>
              </c:tx>
              <c:dLblPos val="l"/>
              <c:showLegendKey val="0"/>
              <c:showVal val="1"/>
              <c:showCatName val="0"/>
              <c:showSerName val="0"/>
              <c:showPercent val="0"/>
              <c:showBubbleSize val="0"/>
            </c:dLbl>
            <c:dLbl>
              <c:idx val="1"/>
              <c:tx>
                <c:rich>
                  <a:bodyPr/>
                  <a:lstStyle/>
                  <a:p>
                    <a:r>
                      <a:t>IX 100</a:t>
                    </a:r>
                  </a:p>
                  <a:p>
                    <a:r>
                      <a:t>0.5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9</c:v>
                </c:pt>
                <c:pt idx="1">
                  <c:v>IX 100</c:v>
                </c:pt>
                <c:pt idx="2">
                  <c:v/>
                </c:pt>
                <c:pt idx="3">
                  <c:v/>
                </c:pt>
                <c:pt idx="4">
                  <c:v/>
                </c:pt>
                <c:pt idx="5">
                  <c:v/>
                </c:pt>
                <c:pt idx="6">
                  <c:v/>
                </c:pt>
              </c:strCache>
            </c:strRef>
          </c:cat>
          <c:val>
            <c:numRef>
              <c:f>Sheet1!$C$2:$C$8</c:f>
              <c:numCache>
                <c:formatCode>General</c:formatCode>
                <c:ptCount val="7"/>
                <c:pt idx="0">
                  <c:v>1.11</c:v>
                </c:pt>
                <c:pt idx="1">
                  <c:v>0.5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9</c:v>
                </c:pt>
                <c:pt idx="1">
                  <c:v>IX 100</c:v>
                </c:pt>
                <c:pt idx="2">
                  <c:v/>
                </c:pt>
                <c:pt idx="3">
                  <c:v/>
                </c:pt>
                <c:pt idx="4">
                  <c:v/>
                </c:pt>
                <c:pt idx="5">
                  <c:v/>
                </c:pt>
                <c:pt idx="6">
                  <c:v/>
                </c:pt>
              </c:strCache>
            </c:strRef>
          </c:cat>
          <c:val>
            <c:numRef>
              <c:f>Sheet1!$D$2:$D$8</c:f>
              <c:numCache>
                <c:formatCode>General</c:formatCode>
                <c:ptCount val="7"/>
                <c:pt idx="0">
                  <c:v>5.83</c:v>
                </c:pt>
                <c:pt idx="4">
                  <c:v>2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9</c:v>
                </c:pt>
                <c:pt idx="1">
                  <c:v>IX 100</c:v>
                </c:pt>
                <c:pt idx="2">
                  <c:v/>
                </c:pt>
                <c:pt idx="3">
                  <c:v/>
                </c:pt>
                <c:pt idx="4">
                  <c:v/>
                </c:pt>
                <c:pt idx="5">
                  <c:v/>
                </c:pt>
                <c:pt idx="6">
                  <c:v/>
                </c:pt>
              </c:strCache>
            </c:strRef>
          </c:cat>
          <c:val>
            <c:numRef>
              <c:f>Sheet1!$E$2:$E$8</c:f>
              <c:numCache>
                <c:formatCode>General</c:formatCode>
                <c:ptCount val="7"/>
                <c:pt idx="4">
                  <c:v>46.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9</c:v>
                </c:pt>
                <c:pt idx="1">
                  <c:v>IX 100</c:v>
                </c:pt>
                <c:pt idx="2">
                  <c:v/>
                </c:pt>
                <c:pt idx="3">
                  <c:v/>
                </c:pt>
                <c:pt idx="4">
                  <c:v/>
                </c:pt>
                <c:pt idx="5">
                  <c:v/>
                </c:pt>
                <c:pt idx="6">
                  <c:v/>
                </c:pt>
              </c:strCache>
            </c:strRef>
          </c:cat>
          <c:val>
            <c:numRef>
              <c:f>Sheet1!$F$2:$F$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0.0653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3</c:v>
                </c:pt>
                <c:pt idx="1">
                  <c:v/>
                </c:pt>
                <c:pt idx="2">
                  <c:v/>
                </c:pt>
                <c:pt idx="3">
                  <c:v/>
                </c:pt>
                <c:pt idx="4">
                  <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3</a:t>
                    </a:r>
                  </a:p>
                  <a:p>
                    <a:r>
                      <a:t>3.1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3</c:v>
                </c:pt>
                <c:pt idx="1">
                  <c:v/>
                </c:pt>
                <c:pt idx="2">
                  <c:v/>
                </c:pt>
                <c:pt idx="3">
                  <c:v/>
                </c:pt>
                <c:pt idx="4">
                  <c:v/>
                </c:pt>
                <c:pt idx="5">
                  <c:v/>
                </c:pt>
                <c:pt idx="6">
                  <c:v/>
                </c:pt>
              </c:strCache>
            </c:strRef>
          </c:cat>
          <c:val>
            <c:numRef>
              <c:f>Sheet1!$C$2:$C$8</c:f>
              <c:numCache>
                <c:formatCode>General</c:formatCode>
                <c:ptCount val="7"/>
                <c:pt idx="0">
                  <c:v>3.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3</c:v>
                </c:pt>
                <c:pt idx="1">
                  <c:v/>
                </c:pt>
                <c:pt idx="2">
                  <c:v/>
                </c:pt>
                <c:pt idx="3">
                  <c:v/>
                </c:pt>
                <c:pt idx="4">
                  <c:v/>
                </c:pt>
                <c:pt idx="5">
                  <c:v/>
                </c:pt>
                <c:pt idx="6">
                  <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3</c:v>
                </c:pt>
                <c:pt idx="1">
                  <c:v/>
                </c:pt>
                <c:pt idx="2">
                  <c:v/>
                </c:pt>
                <c:pt idx="3">
                  <c:v/>
                </c:pt>
                <c:pt idx="4">
                  <c:v/>
                </c:pt>
                <c:pt idx="5">
                  <c:v/>
                </c:pt>
                <c:pt idx="6">
                  <c:v/>
                </c:pt>
              </c:strCache>
            </c:strRef>
          </c:cat>
          <c:val>
            <c:numRef>
              <c:f>Sheet1!$E$2:$E$8</c:f>
              <c:numCache>
                <c:formatCode>General</c:formatCode>
                <c:ptCount val="7"/>
                <c:pt idx="1">
                  <c:v>2.6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3</c:v>
                </c:pt>
                <c:pt idx="1">
                  <c:v/>
                </c:pt>
                <c:pt idx="2">
                  <c:v/>
                </c:pt>
                <c:pt idx="3">
                  <c:v/>
                </c:pt>
                <c:pt idx="4">
                  <c:v/>
                </c:pt>
                <c:pt idx="5">
                  <c:v/>
                </c:pt>
                <c:pt idx="6">
                  <c:v/>
                </c:pt>
              </c:strCache>
            </c:strRef>
          </c:cat>
          <c:val>
            <c:numRef>
              <c:f>Sheet1!$F$2:$F$8</c:f>
              <c:numCache>
                <c:formatCode>General</c:formatCode>
                <c:ptCount val="7"/>
                <c:pt idx="3">
                  <c:v>2.24</c:v>
                </c:pt>
                <c:pt idx="4">
                  <c:v>2.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34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3</c:v>
                </c:pt>
                <c:pt idx="1">
                  <c:v/>
                </c:pt>
                <c:pt idx="2">
                  <c:v/>
                </c:pt>
                <c:pt idx="3">
                  <c:v/>
                </c:pt>
                <c:pt idx="4">
                  <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2.4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3</c:v>
                </c:pt>
                <c:pt idx="1">
                  <c:v/>
                </c:pt>
                <c:pt idx="2">
                  <c:v/>
                </c:pt>
                <c:pt idx="3">
                  <c:v/>
                </c:pt>
                <c:pt idx="4">
                  <c:v/>
                </c:pt>
                <c:pt idx="5">
                  <c:v/>
                </c:pt>
                <c:pt idx="6">
                  <c:v/>
                </c:pt>
              </c:strCache>
            </c:strRef>
          </c:cat>
          <c:val>
            <c:numRef>
              <c:f>Sheet1!$C$2:$C$8</c:f>
              <c:numCache>
                <c:formatCode>General</c:formatCode>
                <c:ptCount val="7"/>
                <c:pt idx="0">
                  <c:v>2.4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3</c:v>
                </c:pt>
                <c:pt idx="1">
                  <c:v/>
                </c:pt>
                <c:pt idx="2">
                  <c:v/>
                </c:pt>
                <c:pt idx="3">
                  <c:v/>
                </c:pt>
                <c:pt idx="4">
                  <c:v/>
                </c:pt>
                <c:pt idx="5">
                  <c:v/>
                </c:pt>
                <c:pt idx="6">
                  <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3</c:v>
                </c:pt>
                <c:pt idx="1">
                  <c:v/>
                </c:pt>
                <c:pt idx="2">
                  <c:v/>
                </c:pt>
                <c:pt idx="3">
                  <c:v/>
                </c:pt>
                <c:pt idx="4">
                  <c:v/>
                </c:pt>
                <c:pt idx="5">
                  <c:v/>
                </c:pt>
                <c:pt idx="6">
                  <c:v/>
                </c:pt>
              </c:strCache>
            </c:strRef>
          </c:cat>
          <c:val>
            <c:numRef>
              <c:f>Sheet1!$E$2:$E$8</c:f>
              <c:numCache>
                <c:formatCode>General</c:formatCode>
                <c:ptCount val="7"/>
                <c:pt idx="3">
                  <c:v>2.24</c:v>
                </c:pt>
                <c:pt idx="4">
                  <c:v>2.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3</c:v>
                </c:pt>
                <c:pt idx="1">
                  <c:v/>
                </c:pt>
                <c:pt idx="2">
                  <c:v/>
                </c:pt>
                <c:pt idx="3">
                  <c:v/>
                </c:pt>
                <c:pt idx="4">
                  <c:v/>
                </c:pt>
                <c:pt idx="5">
                  <c:v/>
                </c:pt>
                <c:pt idx="6">
                  <c:v/>
                </c:pt>
              </c:strCache>
            </c:strRef>
          </c:cat>
          <c:val>
            <c:numRef>
              <c:f>Sheet1!$F$2:$F$8</c:f>
              <c:numCache>
                <c:formatCode>General</c:formatCode>
                <c:ptCount val="7"/>
                <c:pt idx="1">
                  <c:v>2.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34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100</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6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100</c:v>
                </c:pt>
                <c:pt idx="5">
                  <c:v/>
                </c:pt>
                <c:pt idx="6">
                  <c:v/>
                </c:pt>
              </c:strCache>
            </c:strRef>
          </c:cat>
          <c:val>
            <c:numRef>
              <c:f>Sheet1!$C$2:$C$8</c:f>
              <c:numCache>
                <c:formatCode>General</c:formatCode>
                <c:ptCount val="7"/>
                <c:pt idx="4">
                  <c:v>1.6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100</c:v>
                </c:pt>
                <c:pt idx="5">
                  <c:v/>
                </c:pt>
                <c:pt idx="6">
                  <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100</c:v>
                </c:pt>
                <c:pt idx="5">
                  <c:v/>
                </c:pt>
                <c:pt idx="6">
                  <c:v/>
                </c:pt>
              </c:strCache>
            </c:strRef>
          </c:cat>
          <c:val>
            <c:numRef>
              <c:f>Sheet1!$E$2:$E$8</c:f>
              <c:numCache>
                <c:formatCode>General</c:formatCode>
                <c:ptCount val="7"/>
                <c:pt idx="3">
                  <c:v>2.24</c:v>
                </c:pt>
                <c:pt idx="4">
                  <c:v>2.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100</c:v>
                </c:pt>
                <c:pt idx="5">
                  <c:v/>
                </c:pt>
                <c:pt idx="6">
                  <c:v/>
                </c:pt>
              </c:strCache>
            </c:strRef>
          </c:cat>
          <c:val>
            <c:numRef>
              <c:f>Sheet1!$F$2:$F$8</c:f>
              <c:numCache>
                <c:formatCode>General</c:formatCode>
                <c:ptCount val="7"/>
                <c:pt idx="1">
                  <c:v>2.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34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80</c:v>
                </c:pt>
                <c:pt idx="2">
                  <c:v/>
                </c:pt>
                <c:pt idx="3">
                  <c:v/>
                </c:pt>
                <c:pt idx="4">
                  <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80</a:t>
                    </a:r>
                  </a:p>
                  <a:p>
                    <a:r>
                      <a:t>2.0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80</c:v>
                </c:pt>
                <c:pt idx="2">
                  <c:v/>
                </c:pt>
                <c:pt idx="3">
                  <c:v/>
                </c:pt>
                <c:pt idx="4">
                  <c:v/>
                </c:pt>
                <c:pt idx="5">
                  <c:v/>
                </c:pt>
                <c:pt idx="6">
                  <c:v/>
                </c:pt>
              </c:strCache>
            </c:strRef>
          </c:cat>
          <c:val>
            <c:numRef>
              <c:f>Sheet1!$C$2:$C$8</c:f>
              <c:numCache>
                <c:formatCode>General</c:formatCode>
                <c:ptCount val="7"/>
                <c:pt idx="1">
                  <c:v>2.0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80</c:v>
                </c:pt>
                <c:pt idx="2">
                  <c:v/>
                </c:pt>
                <c:pt idx="3">
                  <c:v/>
                </c:pt>
                <c:pt idx="4">
                  <c:v/>
                </c:pt>
                <c:pt idx="5">
                  <c:v/>
                </c:pt>
                <c:pt idx="6">
                  <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80</c:v>
                </c:pt>
                <c:pt idx="2">
                  <c:v/>
                </c:pt>
                <c:pt idx="3">
                  <c:v/>
                </c:pt>
                <c:pt idx="4">
                  <c:v/>
                </c:pt>
                <c:pt idx="5">
                  <c:v/>
                </c:pt>
                <c:pt idx="6">
                  <c:v/>
                </c:pt>
              </c:strCache>
            </c:strRef>
          </c:cat>
          <c:val>
            <c:numRef>
              <c:f>Sheet1!$E$2:$E$8</c:f>
              <c:numCache>
                <c:formatCode>General</c:formatCode>
                <c:ptCount val="7"/>
                <c:pt idx="1">
                  <c:v>2.6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80</c:v>
                </c:pt>
                <c:pt idx="2">
                  <c:v/>
                </c:pt>
                <c:pt idx="3">
                  <c:v/>
                </c:pt>
                <c:pt idx="4">
                  <c:v/>
                </c:pt>
                <c:pt idx="5">
                  <c:v/>
                </c:pt>
                <c:pt idx="6">
                  <c:v/>
                </c:pt>
              </c:strCache>
            </c:strRef>
          </c:cat>
          <c:val>
            <c:numRef>
              <c:f>Sheet1!$F$2:$F$8</c:f>
              <c:numCache>
                <c:formatCode>General</c:formatCode>
                <c:ptCount val="7"/>
                <c:pt idx="3">
                  <c:v>2.24</c:v>
                </c:pt>
                <c:pt idx="4">
                  <c:v>2.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34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1</a:t>
                    </a:r>
                  </a:p>
                  <a:p>
                    <a:r>
                      <a:t>1.9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C$2:$C$8</c:f>
              <c:numCache>
                <c:formatCode>General</c:formatCode>
                <c:ptCount val="7"/>
                <c:pt idx="0">
                  <c:v>1.9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E$2:$E$8</c:f>
              <c:numCache>
                <c:formatCode>General</c:formatCode>
                <c:ptCount val="7"/>
                <c:pt idx="3">
                  <c:v>2.24</c:v>
                </c:pt>
                <c:pt idx="4">
                  <c:v>2.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F$2:$F$8</c:f>
              <c:numCache>
                <c:formatCode>General</c:formatCode>
                <c:ptCount val="7"/>
                <c:pt idx="1">
                  <c:v>2.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34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100</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0.7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100</c:v>
                </c:pt>
              </c:strCache>
            </c:strRef>
          </c:cat>
          <c:val>
            <c:numRef>
              <c:f>Sheet1!$C$2:$C$8</c:f>
              <c:numCache>
                <c:formatCode>General</c:formatCode>
                <c:ptCount val="7"/>
                <c:pt idx="6">
                  <c:v>0.7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100</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100</c:v>
                </c:pt>
              </c:strCache>
            </c:strRef>
          </c:cat>
          <c:val>
            <c:numRef>
              <c:f>Sheet1!$E$2:$E$8</c:f>
              <c:numCache>
                <c:formatCode>General</c:formatCode>
                <c:ptCount val="7"/>
                <c:pt idx="3">
                  <c:v>2.24</c:v>
                </c:pt>
                <c:pt idx="4">
                  <c:v>2.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100</c:v>
                </c:pt>
              </c:strCache>
            </c:strRef>
          </c:cat>
          <c:val>
            <c:numRef>
              <c:f>Sheet1!$F$2:$F$8</c:f>
              <c:numCache>
                <c:formatCode>General</c:formatCode>
                <c:ptCount val="7"/>
                <c:pt idx="1">
                  <c:v>2.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27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8</c:v>
                </c:pt>
                <c:pt idx="1">
                  <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8</a:t>
                    </a:r>
                  </a:p>
                  <a:p>
                    <a:r>
                      <a:t>1.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8</c:v>
                </c:pt>
                <c:pt idx="1">
                  <c:v/>
                </c:pt>
              </c:strCache>
            </c:strRef>
          </c:cat>
          <c:val>
            <c:numRef>
              <c:f>Sheet1!$C$2:$C$3</c:f>
              <c:numCache>
                <c:formatCode>General</c:formatCode>
                <c:ptCount val="2"/>
                <c:pt idx="0">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8</c:v>
                </c:pt>
                <c:pt idx="1">
                  <c:v/>
                </c:pt>
              </c:strCache>
            </c:strRef>
          </c:cat>
          <c:val>
            <c:numRef>
              <c:f>Sheet1!$D$2:$D$3</c:f>
              <c:numCache>
                <c:formatCode>General</c:formatCode>
                <c:ptCount val="2"/>
                <c:pt idx="0">
                  <c:v>2.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8</c:v>
                </c:pt>
                <c:pt idx="1">
                  <c:v/>
                </c:pt>
              </c:strCache>
            </c:strRef>
          </c:cat>
          <c:val>
            <c:numRef>
              <c:f>Sheet1!$E$2:$E$3</c:f>
              <c:numCache>
                <c:formatCode>General</c:formatCode>
                <c:ptCount val="2"/>
                <c:pt idx="0">
                  <c:v>1.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8</c:v>
                </c:pt>
                <c:pt idx="1">
                  <c:v/>
                </c:pt>
              </c:strCache>
            </c:strRef>
          </c:cat>
          <c:val>
            <c:numRef>
              <c:f>Sheet1!$F$2:$F$3</c:f>
              <c:numCache>
                <c:formatCode>General</c:formatCode>
                <c:ptCount val="2"/>
                <c:pt idx="1">
                  <c:v>0.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426"/>
          <c:min val="0.1100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7</c:v>
                </c:pt>
                <c:pt idx="1">
                  <c:v/>
                </c:pt>
                <c:pt idx="2">
                  <c:v/>
                </c:pt>
                <c:pt idx="3">
                  <c:v/>
                </c:pt>
                <c:pt idx="4">
                  <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7</a:t>
                    </a:r>
                  </a:p>
                  <a:p>
                    <a:r>
                      <a:t>0.6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7</c:v>
                </c:pt>
                <c:pt idx="1">
                  <c:v/>
                </c:pt>
                <c:pt idx="2">
                  <c:v/>
                </c:pt>
                <c:pt idx="3">
                  <c:v/>
                </c:pt>
                <c:pt idx="4">
                  <c:v/>
                </c:pt>
                <c:pt idx="5">
                  <c:v/>
                </c:pt>
                <c:pt idx="6">
                  <c:v/>
                </c:pt>
              </c:strCache>
            </c:strRef>
          </c:cat>
          <c:val>
            <c:numRef>
              <c:f>Sheet1!$C$2:$C$8</c:f>
              <c:numCache>
                <c:formatCode>General</c:formatCode>
                <c:ptCount val="7"/>
                <c:pt idx="0">
                  <c:v>0.6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7</c:v>
                </c:pt>
                <c:pt idx="1">
                  <c:v/>
                </c:pt>
                <c:pt idx="2">
                  <c:v/>
                </c:pt>
                <c:pt idx="3">
                  <c:v/>
                </c:pt>
                <c:pt idx="4">
                  <c:v/>
                </c:pt>
                <c:pt idx="5">
                  <c:v/>
                </c:pt>
                <c:pt idx="6">
                  <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7</c:v>
                </c:pt>
                <c:pt idx="1">
                  <c:v/>
                </c:pt>
                <c:pt idx="2">
                  <c:v/>
                </c:pt>
                <c:pt idx="3">
                  <c:v/>
                </c:pt>
                <c:pt idx="4">
                  <c:v/>
                </c:pt>
                <c:pt idx="5">
                  <c:v/>
                </c:pt>
                <c:pt idx="6">
                  <c:v/>
                </c:pt>
              </c:strCache>
            </c:strRef>
          </c:cat>
          <c:val>
            <c:numRef>
              <c:f>Sheet1!$E$2:$E$8</c:f>
              <c:numCache>
                <c:formatCode>General</c:formatCode>
                <c:ptCount val="7"/>
                <c:pt idx="3">
                  <c:v>2.24</c:v>
                </c:pt>
                <c:pt idx="4">
                  <c:v>2.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7</c:v>
                </c:pt>
                <c:pt idx="1">
                  <c:v/>
                </c:pt>
                <c:pt idx="2">
                  <c:v/>
                </c:pt>
                <c:pt idx="3">
                  <c:v/>
                </c:pt>
                <c:pt idx="4">
                  <c:v/>
                </c:pt>
                <c:pt idx="5">
                  <c:v/>
                </c:pt>
                <c:pt idx="6">
                  <c:v/>
                </c:pt>
              </c:strCache>
            </c:strRef>
          </c:cat>
          <c:val>
            <c:numRef>
              <c:f>Sheet1!$F$2:$F$8</c:f>
              <c:numCache>
                <c:formatCode>General</c:formatCode>
                <c:ptCount val="7"/>
                <c:pt idx="1">
                  <c:v>2.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16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
                </c:pt>
                <c:pt idx="2">
                  <c:v/>
                </c:pt>
                <c:pt idx="3">
                  <c:v/>
                </c:pt>
                <c:pt idx="4">
                  <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4</a:t>
                    </a:r>
                  </a:p>
                  <a:p>
                    <a:r>
                      <a:t>2.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
                </c:pt>
                <c:pt idx="2">
                  <c:v/>
                </c:pt>
                <c:pt idx="3">
                  <c:v/>
                </c:pt>
                <c:pt idx="4">
                  <c:v/>
                </c:pt>
                <c:pt idx="5">
                  <c:v/>
                </c:pt>
                <c:pt idx="6">
                  <c:v/>
                </c:pt>
              </c:strCache>
            </c:strRef>
          </c:cat>
          <c:val>
            <c:numRef>
              <c:f>Sheet1!$C$2:$C$8</c:f>
              <c:numCache>
                <c:formatCode>General</c:formatCode>
                <c:ptCount val="7"/>
                <c:pt idx="0">
                  <c:v>2.0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
                </c:pt>
                <c:pt idx="2">
                  <c:v/>
                </c:pt>
                <c:pt idx="3">
                  <c:v/>
                </c:pt>
                <c:pt idx="4">
                  <c:v/>
                </c:pt>
                <c:pt idx="5">
                  <c:v/>
                </c:pt>
                <c:pt idx="6">
                  <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
                </c:pt>
                <c:pt idx="2">
                  <c:v/>
                </c:pt>
                <c:pt idx="3">
                  <c:v/>
                </c:pt>
                <c:pt idx="4">
                  <c:v/>
                </c:pt>
                <c:pt idx="5">
                  <c:v/>
                </c:pt>
                <c:pt idx="6">
                  <c:v/>
                </c:pt>
              </c:strCache>
            </c:strRef>
          </c:cat>
          <c:val>
            <c:numRef>
              <c:f>Sheet1!$E$2:$E$8</c:f>
              <c:numCache>
                <c:formatCode>General</c:formatCode>
                <c:ptCount val="7"/>
                <c:pt idx="3">
                  <c:v>2.24</c:v>
                </c:pt>
                <c:pt idx="4">
                  <c:v>2.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
                </c:pt>
                <c:pt idx="2">
                  <c:v/>
                </c:pt>
                <c:pt idx="3">
                  <c:v/>
                </c:pt>
                <c:pt idx="4">
                  <c:v/>
                </c:pt>
                <c:pt idx="5">
                  <c:v/>
                </c:pt>
                <c:pt idx="6">
                  <c:v/>
                </c:pt>
              </c:strCache>
            </c:strRef>
          </c:cat>
          <c:val>
            <c:numRef>
              <c:f>Sheet1!$F$2:$F$8</c:f>
              <c:numCache>
                <c:formatCode>General</c:formatCode>
                <c:ptCount val="7"/>
                <c:pt idx="1">
                  <c:v>2.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34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7</c:v>
                </c:pt>
                <c:pt idx="1">
                  <c:v/>
                </c:pt>
                <c:pt idx="2">
                  <c:v/>
                </c:pt>
                <c:pt idx="3">
                  <c:v/>
                </c:pt>
                <c:pt idx="4">
                  <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7</a:t>
                    </a:r>
                  </a:p>
                  <a:p>
                    <a:r>
                      <a:t>0.6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7</c:v>
                </c:pt>
                <c:pt idx="1">
                  <c:v/>
                </c:pt>
                <c:pt idx="2">
                  <c:v/>
                </c:pt>
                <c:pt idx="3">
                  <c:v/>
                </c:pt>
                <c:pt idx="4">
                  <c:v/>
                </c:pt>
                <c:pt idx="5">
                  <c:v/>
                </c:pt>
                <c:pt idx="6">
                  <c:v/>
                </c:pt>
              </c:strCache>
            </c:strRef>
          </c:cat>
          <c:val>
            <c:numRef>
              <c:f>Sheet1!$C$2:$C$8</c:f>
              <c:numCache>
                <c:formatCode>General</c:formatCode>
                <c:ptCount val="7"/>
                <c:pt idx="0">
                  <c:v>0.6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7</c:v>
                </c:pt>
                <c:pt idx="1">
                  <c:v/>
                </c:pt>
                <c:pt idx="2">
                  <c:v/>
                </c:pt>
                <c:pt idx="3">
                  <c:v/>
                </c:pt>
                <c:pt idx="4">
                  <c:v/>
                </c:pt>
                <c:pt idx="5">
                  <c:v/>
                </c:pt>
                <c:pt idx="6">
                  <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7</c:v>
                </c:pt>
                <c:pt idx="1">
                  <c:v/>
                </c:pt>
                <c:pt idx="2">
                  <c:v/>
                </c:pt>
                <c:pt idx="3">
                  <c:v/>
                </c:pt>
                <c:pt idx="4">
                  <c:v/>
                </c:pt>
                <c:pt idx="5">
                  <c:v/>
                </c:pt>
                <c:pt idx="6">
                  <c:v/>
                </c:pt>
              </c:strCache>
            </c:strRef>
          </c:cat>
          <c:val>
            <c:numRef>
              <c:f>Sheet1!$E$2:$E$8</c:f>
              <c:numCache>
                <c:formatCode>General</c:formatCode>
                <c:ptCount val="7"/>
                <c:pt idx="3">
                  <c:v>2.24</c:v>
                </c:pt>
                <c:pt idx="4">
                  <c:v>2.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7</c:v>
                </c:pt>
                <c:pt idx="1">
                  <c:v/>
                </c:pt>
                <c:pt idx="2">
                  <c:v/>
                </c:pt>
                <c:pt idx="3">
                  <c:v/>
                </c:pt>
                <c:pt idx="4">
                  <c:v/>
                </c:pt>
                <c:pt idx="5">
                  <c:v/>
                </c:pt>
                <c:pt idx="6">
                  <c:v/>
                </c:pt>
              </c:strCache>
            </c:strRef>
          </c:cat>
          <c:val>
            <c:numRef>
              <c:f>Sheet1!$F$2:$F$8</c:f>
              <c:numCache>
                <c:formatCode>General</c:formatCode>
                <c:ptCount val="7"/>
                <c:pt idx="1">
                  <c:v>2.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139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58</c:v>
                </c:pt>
                <c:pt idx="2">
                  <c:v/>
                </c:pt>
                <c:pt idx="3">
                  <c:v/>
                </c:pt>
                <c:pt idx="4">
                  <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8</a:t>
                    </a:r>
                  </a:p>
                  <a:p>
                    <a:r>
                      <a:t>1.5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58</c:v>
                </c:pt>
                <c:pt idx="2">
                  <c:v/>
                </c:pt>
                <c:pt idx="3">
                  <c:v/>
                </c:pt>
                <c:pt idx="4">
                  <c:v/>
                </c:pt>
                <c:pt idx="5">
                  <c:v/>
                </c:pt>
                <c:pt idx="6">
                  <c:v/>
                </c:pt>
              </c:strCache>
            </c:strRef>
          </c:cat>
          <c:val>
            <c:numRef>
              <c:f>Sheet1!$C$2:$C$8</c:f>
              <c:numCache>
                <c:formatCode>General</c:formatCode>
                <c:ptCount val="7"/>
                <c:pt idx="1">
                  <c:v>1.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58</c:v>
                </c:pt>
                <c:pt idx="2">
                  <c:v/>
                </c:pt>
                <c:pt idx="3">
                  <c:v/>
                </c:pt>
                <c:pt idx="4">
                  <c:v/>
                </c:pt>
                <c:pt idx="5">
                  <c:v/>
                </c:pt>
                <c:pt idx="6">
                  <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58</c:v>
                </c:pt>
                <c:pt idx="2">
                  <c:v/>
                </c:pt>
                <c:pt idx="3">
                  <c:v/>
                </c:pt>
                <c:pt idx="4">
                  <c:v/>
                </c:pt>
                <c:pt idx="5">
                  <c:v/>
                </c:pt>
                <c:pt idx="6">
                  <c:v/>
                </c:pt>
              </c:strCache>
            </c:strRef>
          </c:cat>
          <c:val>
            <c:numRef>
              <c:f>Sheet1!$E$2:$E$8</c:f>
              <c:numCache>
                <c:formatCode>General</c:formatCode>
                <c:ptCount val="7"/>
                <c:pt idx="1">
                  <c:v>2.6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58</c:v>
                </c:pt>
                <c:pt idx="2">
                  <c:v/>
                </c:pt>
                <c:pt idx="3">
                  <c:v/>
                </c:pt>
                <c:pt idx="4">
                  <c:v/>
                </c:pt>
                <c:pt idx="5">
                  <c:v/>
                </c:pt>
                <c:pt idx="6">
                  <c:v/>
                </c:pt>
              </c:strCache>
            </c:strRef>
          </c:cat>
          <c:val>
            <c:numRef>
              <c:f>Sheet1!$F$2:$F$8</c:f>
              <c:numCache>
                <c:formatCode>General</c:formatCode>
                <c:ptCount val="7"/>
                <c:pt idx="3">
                  <c:v>2.24</c:v>
                </c:pt>
                <c:pt idx="4">
                  <c:v>2.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34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IX 32</c:v>
                </c:pt>
                <c:pt idx="2">
                  <c:v>IX 100</c:v>
                </c:pt>
                <c:pt idx="3">
                  <c:v/>
                </c:pt>
                <c:pt idx="4">
                  <c:v/>
                </c:pt>
                <c:pt idx="5">
                  <c:v/>
                </c:pt>
                <c:pt idx="6">
                  <c:v>IX 100</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8</a:t>
                    </a:r>
                  </a:p>
                  <a:p>
                    <a:r>
                      <a:t>2.23</a:t>
                    </a:r>
                  </a:p>
                </c:rich>
              </c:tx>
              <c:dLblPos val="l"/>
              <c:showLegendKey val="0"/>
              <c:showVal val="1"/>
              <c:showCatName val="0"/>
              <c:showSerName val="0"/>
              <c:showPercent val="0"/>
              <c:showBubbleSize val="0"/>
            </c:dLbl>
            <c:dLbl>
              <c:idx val="1"/>
              <c:tx>
                <c:rich>
                  <a:bodyPr/>
                  <a:lstStyle/>
                  <a:p>
                    <a:r>
                      <a:t>IX 32</a:t>
                    </a:r>
                  </a:p>
                  <a:p>
                    <a:r>
                      <a:t>0.83</a:t>
                    </a:r>
                  </a:p>
                </c:rich>
              </c:tx>
              <c:dLblPos val="l"/>
              <c:showLegendKey val="0"/>
              <c:showVal val="1"/>
              <c:showCatName val="0"/>
              <c:showSerName val="0"/>
              <c:showPercent val="0"/>
              <c:showBubbleSize val="0"/>
            </c:dLbl>
            <c:dLbl>
              <c:idx val="2"/>
              <c:tx>
                <c:rich>
                  <a:bodyPr/>
                  <a:lstStyle/>
                  <a:p>
                    <a:r>
                      <a:t>IX 100</a:t>
                    </a:r>
                  </a:p>
                  <a:p>
                    <a:r>
                      <a:t>0.3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0.3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IX 32</c:v>
                </c:pt>
                <c:pt idx="2">
                  <c:v>IX 100</c:v>
                </c:pt>
                <c:pt idx="3">
                  <c:v/>
                </c:pt>
                <c:pt idx="4">
                  <c:v/>
                </c:pt>
                <c:pt idx="5">
                  <c:v/>
                </c:pt>
                <c:pt idx="6">
                  <c:v>IX 100</c:v>
                </c:pt>
              </c:strCache>
            </c:strRef>
          </c:cat>
          <c:val>
            <c:numRef>
              <c:f>Sheet1!$C$2:$C$8</c:f>
              <c:numCache>
                <c:formatCode>General</c:formatCode>
                <c:ptCount val="7"/>
                <c:pt idx="0">
                  <c:v>2.23</c:v>
                </c:pt>
                <c:pt idx="1">
                  <c:v>0.83</c:v>
                </c:pt>
                <c:pt idx="2">
                  <c:v>0.38</c:v>
                </c:pt>
                <c:pt idx="6">
                  <c:v>0.3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IX 32</c:v>
                </c:pt>
                <c:pt idx="2">
                  <c:v>IX 100</c:v>
                </c:pt>
                <c:pt idx="3">
                  <c:v/>
                </c:pt>
                <c:pt idx="4">
                  <c:v/>
                </c:pt>
                <c:pt idx="5">
                  <c:v/>
                </c:pt>
                <c:pt idx="6">
                  <c:v>IX 100</c:v>
                </c:pt>
              </c:strCache>
            </c:strRef>
          </c:cat>
          <c:val>
            <c:numRef>
              <c:f>Sheet1!$D$2:$D$8</c:f>
              <c:numCache>
                <c:formatCode>General</c:formatCode>
                <c:ptCount val="7"/>
                <c:pt idx="0">
                  <c:v>3.84</c:v>
                </c:pt>
                <c:pt idx="4">
                  <c:v>3.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IX 32</c:v>
                </c:pt>
                <c:pt idx="2">
                  <c:v>IX 100</c:v>
                </c:pt>
                <c:pt idx="3">
                  <c:v/>
                </c:pt>
                <c:pt idx="4">
                  <c:v/>
                </c:pt>
                <c:pt idx="5">
                  <c:v/>
                </c:pt>
                <c:pt idx="6">
                  <c:v>IX 100</c:v>
                </c:pt>
              </c:strCache>
            </c:strRef>
          </c:cat>
          <c:val>
            <c:numRef>
              <c:f>Sheet1!$E$2:$E$8</c:f>
              <c:numCache>
                <c:formatCode>General</c:formatCode>
                <c:ptCount val="7"/>
                <c:pt idx="3">
                  <c:v>2.24</c:v>
                </c:pt>
                <c:pt idx="4">
                  <c:v>2.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IX 32</c:v>
                </c:pt>
                <c:pt idx="2">
                  <c:v>IX 100</c:v>
                </c:pt>
                <c:pt idx="3">
                  <c:v/>
                </c:pt>
                <c:pt idx="4">
                  <c:v/>
                </c:pt>
                <c:pt idx="5">
                  <c:v/>
                </c:pt>
                <c:pt idx="6">
                  <c:v>IX 100</c:v>
                </c:pt>
              </c:strCache>
            </c:strRef>
          </c:cat>
          <c:val>
            <c:numRef>
              <c:f>Sheet1!$F$2:$F$8</c:f>
              <c:numCache>
                <c:formatCode>General</c:formatCode>
                <c:ptCount val="7"/>
                <c:pt idx="1">
                  <c:v>2.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404"/>
          <c:min val="-0.188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IX 100</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3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0</a:t>
                    </a:r>
                  </a:p>
                  <a:p>
                    <a:r>
                      <a:t>0.82</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IX 100</c:v>
                </c:pt>
                <c:pt idx="6">
                  <c:v/>
                </c:pt>
              </c:strCache>
            </c:strRef>
          </c:cat>
          <c:val>
            <c:numRef>
              <c:f>Sheet1!$C$2:$C$8</c:f>
              <c:numCache>
                <c:formatCode>General</c:formatCode>
                <c:ptCount val="7"/>
                <c:pt idx="0">
                  <c:v>1.31</c:v>
                </c:pt>
                <c:pt idx="5">
                  <c:v>0.8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IX 100</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IX 100</c:v>
                </c:pt>
                <c:pt idx="6">
                  <c:v/>
                </c:pt>
              </c:strCache>
            </c:strRef>
          </c:cat>
          <c:val>
            <c:numRef>
              <c:f>Sheet1!$E$2:$E$8</c:f>
              <c:numCache>
                <c:formatCode>General</c:formatCode>
                <c:ptCount val="7"/>
                <c:pt idx="1">
                  <c:v>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4</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IX 100</c:v>
                </c:pt>
                <c:pt idx="6">
                  <c:v/>
                </c:pt>
              </c:strCache>
            </c:strRef>
          </c:cat>
          <c:val>
            <c:numRef>
              <c:f>Sheet1!$F$2:$F$8</c:f>
              <c:numCache>
                <c:formatCode>General</c:formatCode>
                <c:ptCount val="7"/>
                <c:pt idx="3">
                  <c:v>2.1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3.5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C$2:$C$8</c:f>
              <c:numCache>
                <c:formatCode>General</c:formatCode>
                <c:ptCount val="7"/>
                <c:pt idx="2">
                  <c:v>3.5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D$2:$D$8</c:f>
              <c:numCache>
                <c:formatCode>General</c:formatCode>
                <c:ptCount val="7"/>
                <c:pt idx="3">
                  <c:v>2.1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E$2:$E$8</c:f>
              <c:numCache>
                <c:formatCode>General</c:formatCode>
                <c:ptCount val="7"/>
                <c:pt idx="1">
                  <c:v>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F$2:$F$8</c:f>
              <c:numCache>
                <c:formatCode>General</c:formatCode>
                <c:ptCount val="7"/>
                <c:pt idx="1">
                  <c:v>0.4</c:v>
                </c:pt>
                <c:pt idx="4">
                  <c:v>0.3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238"/>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5</a:t>
                    </a:r>
                  </a:p>
                  <a:p>
                    <a:r>
                      <a:t>0.5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
                </c:pt>
                <c:pt idx="4">
                  <c:v/>
                </c:pt>
                <c:pt idx="5">
                  <c:v/>
                </c:pt>
                <c:pt idx="6">
                  <c:v/>
                </c:pt>
              </c:strCache>
            </c:strRef>
          </c:cat>
          <c:val>
            <c:numRef>
              <c:f>Sheet1!$C$2:$C$8</c:f>
              <c:numCache>
                <c:formatCode>General</c:formatCode>
                <c:ptCount val="7"/>
                <c:pt idx="1">
                  <c:v>0.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
                </c:pt>
                <c:pt idx="4">
                  <c:v/>
                </c:pt>
                <c:pt idx="5">
                  <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
                </c:pt>
                <c:pt idx="4">
                  <c:v/>
                </c:pt>
                <c:pt idx="5">
                  <c:v/>
                </c:pt>
                <c:pt idx="6">
                  <c:v/>
                </c:pt>
              </c:strCache>
            </c:strRef>
          </c:cat>
          <c:val>
            <c:numRef>
              <c:f>Sheet1!$E$2:$E$8</c:f>
              <c:numCache>
                <c:formatCode>General</c:formatCode>
                <c:ptCount val="7"/>
                <c:pt idx="3">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
                </c:pt>
                <c:pt idx="4">
                  <c:v/>
                </c:pt>
                <c:pt idx="5">
                  <c:v/>
                </c:pt>
                <c:pt idx="6">
                  <c:v/>
                </c:pt>
              </c:strCache>
            </c:strRef>
          </c:cat>
          <c:val>
            <c:numRef>
              <c:f>Sheet1!$F$2:$F$8</c:f>
              <c:numCache>
                <c:formatCode>General</c:formatCode>
                <c:ptCount val="7"/>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07</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7</a:t>
                    </a:r>
                  </a:p>
                  <a:p>
                    <a:r>
                      <a:t>2.3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07</c:v>
                </c:pt>
                <c:pt idx="4">
                  <c:v/>
                </c:pt>
                <c:pt idx="5">
                  <c:v/>
                </c:pt>
                <c:pt idx="6">
                  <c:v/>
                </c:pt>
              </c:strCache>
            </c:strRef>
          </c:cat>
          <c:val>
            <c:numRef>
              <c:f>Sheet1!$C$2:$C$8</c:f>
              <c:numCache>
                <c:formatCode>General</c:formatCode>
                <c:ptCount val="7"/>
                <c:pt idx="3">
                  <c:v>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07</c:v>
                </c:pt>
                <c:pt idx="4">
                  <c:v/>
                </c:pt>
                <c:pt idx="5">
                  <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07</c:v>
                </c:pt>
                <c:pt idx="4">
                  <c:v/>
                </c:pt>
                <c:pt idx="5">
                  <c:v/>
                </c:pt>
                <c:pt idx="6">
                  <c:v/>
                </c:pt>
              </c:strCache>
            </c:strRef>
          </c:cat>
          <c:val>
            <c:numRef>
              <c:f>Sheet1!$E$2:$E$8</c:f>
              <c:numCache>
                <c:formatCode>General</c:formatCode>
                <c:ptCount val="7"/>
                <c:pt idx="3">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07</c:v>
                </c:pt>
                <c:pt idx="4">
                  <c:v/>
                </c:pt>
                <c:pt idx="5">
                  <c:v/>
                </c:pt>
                <c:pt idx="6">
                  <c:v/>
                </c:pt>
              </c:strCache>
            </c:strRef>
          </c:cat>
          <c:val>
            <c:numRef>
              <c:f>Sheet1!$F$2:$F$8</c:f>
              <c:numCache>
                <c:formatCode>General</c:formatCode>
                <c:ptCount val="7"/>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16</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16</a:t>
                    </a:r>
                  </a:p>
                  <a:p>
                    <a:r>
                      <a:t>2.54</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16</c:v>
                </c:pt>
                <c:pt idx="4">
                  <c:v/>
                </c:pt>
                <c:pt idx="5">
                  <c:v/>
                </c:pt>
                <c:pt idx="6">
                  <c:v/>
                </c:pt>
              </c:strCache>
            </c:strRef>
          </c:cat>
          <c:val>
            <c:numRef>
              <c:f>Sheet1!$C$2:$C$8</c:f>
              <c:numCache>
                <c:formatCode>General</c:formatCode>
                <c:ptCount val="7"/>
                <c:pt idx="3">
                  <c:v>2.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16</c:v>
                </c:pt>
                <c:pt idx="4">
                  <c:v/>
                </c:pt>
                <c:pt idx="5">
                  <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16</c:v>
                </c:pt>
                <c:pt idx="4">
                  <c:v/>
                </c:pt>
                <c:pt idx="5">
                  <c:v/>
                </c:pt>
                <c:pt idx="6">
                  <c:v/>
                </c:pt>
              </c:strCache>
            </c:strRef>
          </c:cat>
          <c:val>
            <c:numRef>
              <c:f>Sheet1!$E$2:$E$8</c:f>
              <c:numCache>
                <c:formatCode>General</c:formatCode>
                <c:ptCount val="7"/>
                <c:pt idx="3">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16</c:v>
                </c:pt>
                <c:pt idx="4">
                  <c:v/>
                </c:pt>
                <c:pt idx="5">
                  <c:v/>
                </c:pt>
                <c:pt idx="6">
                  <c:v/>
                </c:pt>
              </c:strCache>
            </c:strRef>
          </c:cat>
          <c:val>
            <c:numRef>
              <c:f>Sheet1!$F$2:$F$8</c:f>
              <c:numCache>
                <c:formatCode>General</c:formatCode>
                <c:ptCount val="7"/>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9</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9</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9</c:v>
                </c:pt>
              </c:strCache>
            </c:strRef>
          </c:cat>
          <c:val>
            <c:numRef>
              <c:f>Sheet1!$C$2:$C$3</c:f>
              <c:numCache>
                <c:formatCode>General</c:formatCode>
                <c:ptCount val="2"/>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9</c:v>
                </c:pt>
              </c:strCache>
            </c:strRef>
          </c:cat>
          <c:val>
            <c:numRef>
              <c:f>Sheet1!$D$2:$D$3</c:f>
              <c:numCache>
                <c:formatCode>General</c:formatCode>
                <c:ptCount val="2"/>
                <c:pt idx="0">
                  <c:v>2.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9</c:v>
                </c:pt>
              </c:strCache>
            </c:strRef>
          </c:cat>
          <c:val>
            <c:numRef>
              <c:f>Sheet1!$E$2:$E$3</c:f>
              <c:numCache>
                <c:formatCode>General</c:formatCode>
                <c:ptCount val="2"/>
                <c:pt idx="0">
                  <c:v>1.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9</c:v>
                </c:pt>
              </c:strCache>
            </c:strRef>
          </c:cat>
          <c:val>
            <c:numRef>
              <c:f>Sheet1!$F$2:$F$3</c:f>
              <c:numCache>
                <c:formatCode>General</c:formatCode>
                <c:ptCount val="2"/>
                <c:pt idx="1">
                  <c:v>0.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426"/>
          <c:min val="0.1100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Class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0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C$2:$C$8</c:f>
              <c:numCache>
                <c:formatCode>General</c:formatCode>
                <c:ptCount val="7"/>
                <c:pt idx="0">
                  <c:v>1.0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E$2:$E$8</c:f>
              <c:numCache>
                <c:formatCode>General</c:formatCode>
                <c:ptCount val="7"/>
                <c:pt idx="3">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F$2:$F$8</c:f>
              <c:numCache>
                <c:formatCode>General</c:formatCode>
                <c:ptCount val="7"/>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2</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72</a:t>
                    </a:r>
                  </a:p>
                  <a:p>
                    <a:r>
                      <a:t>1.5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2</c:v>
                </c:pt>
                <c:pt idx="4">
                  <c:v/>
                </c:pt>
                <c:pt idx="5">
                  <c:v/>
                </c:pt>
                <c:pt idx="6">
                  <c:v/>
                </c:pt>
              </c:strCache>
            </c:strRef>
          </c:cat>
          <c:val>
            <c:numRef>
              <c:f>Sheet1!$C$2:$C$8</c:f>
              <c:numCache>
                <c:formatCode>General</c:formatCode>
                <c:ptCount val="7"/>
                <c:pt idx="3">
                  <c:v>1.5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2</c:v>
                </c:pt>
                <c:pt idx="4">
                  <c:v/>
                </c:pt>
                <c:pt idx="5">
                  <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2</c:v>
                </c:pt>
                <c:pt idx="4">
                  <c:v/>
                </c:pt>
                <c:pt idx="5">
                  <c:v/>
                </c:pt>
                <c:pt idx="6">
                  <c:v/>
                </c:pt>
              </c:strCache>
            </c:strRef>
          </c:cat>
          <c:val>
            <c:numRef>
              <c:f>Sheet1!$E$2:$E$8</c:f>
              <c:numCache>
                <c:formatCode>General</c:formatCode>
                <c:ptCount val="7"/>
                <c:pt idx="3">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2</c:v>
                </c:pt>
                <c:pt idx="4">
                  <c:v/>
                </c:pt>
                <c:pt idx="5">
                  <c:v/>
                </c:pt>
                <c:pt idx="6">
                  <c:v/>
                </c:pt>
              </c:strCache>
            </c:strRef>
          </c:cat>
          <c:val>
            <c:numRef>
              <c:f>Sheet1!$F$2:$F$8</c:f>
              <c:numCache>
                <c:formatCode>General</c:formatCode>
                <c:ptCount val="7"/>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3.1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C$2:$C$8</c:f>
              <c:numCache>
                <c:formatCode>General</c:formatCode>
                <c:ptCount val="7"/>
                <c:pt idx="2">
                  <c:v>3.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E$2:$E$8</c:f>
              <c:numCache>
                <c:formatCode>General</c:formatCode>
                <c:ptCount val="7"/>
                <c:pt idx="3">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F$2:$F$8</c:f>
              <c:numCache>
                <c:formatCode>General</c:formatCode>
                <c:ptCount val="7"/>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719"/>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8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C$2:$C$8</c:f>
              <c:numCache>
                <c:formatCode>General</c:formatCode>
                <c:ptCount val="7"/>
                <c:pt idx="2">
                  <c:v>1.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D$2:$D$8</c:f>
              <c:numCache>
                <c:formatCode>General</c:formatCode>
                <c:ptCount val="7"/>
                <c:pt idx="3">
                  <c:v>2.1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E$2:$E$8</c:f>
              <c:numCache>
                <c:formatCode>General</c:formatCode>
                <c:ptCount val="7"/>
                <c:pt idx="1">
                  <c:v>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F$2:$F$8</c:f>
              <c:numCache>
                <c:formatCode>General</c:formatCode>
                <c:ptCount val="7"/>
                <c:pt idx="1">
                  <c:v>0.4</c:v>
                </c:pt>
                <c:pt idx="4">
                  <c:v>0.3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0.8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C$2:$C$8</c:f>
              <c:numCache>
                <c:formatCode>General</c:formatCode>
                <c:ptCount val="7"/>
                <c:pt idx="0">
                  <c:v>0.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E$2:$E$8</c:f>
              <c:numCache>
                <c:formatCode>General</c:formatCode>
                <c:ptCount val="7"/>
                <c:pt idx="3">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F$2:$F$8</c:f>
              <c:numCache>
                <c:formatCode>General</c:formatCode>
                <c:ptCount val="7"/>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1</c:v>
                </c:pt>
                <c:pt idx="2">
                  <c:v/>
                </c:pt>
                <c:pt idx="3">
                  <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1</c:v>
                </c:pt>
                <c:pt idx="2">
                  <c:v/>
                </c:pt>
                <c:pt idx="3">
                  <c:v/>
                </c:pt>
                <c:pt idx="4">
                  <c:v/>
                </c:pt>
                <c:pt idx="5">
                  <c:v/>
                </c:pt>
                <c:pt idx="6">
                  <c:v/>
                </c:pt>
              </c:strCache>
            </c:strRef>
          </c:cat>
          <c:val>
            <c:numRef>
              <c:f>Sheet1!$C$2:$C$8</c:f>
              <c:numCache>
                <c:formatCode>General</c:formatCode>
                <c:ptCount val="7"/>
                <c:pt idx="1">
                  <c:v>0.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1</c:v>
                </c:pt>
                <c:pt idx="2">
                  <c:v/>
                </c:pt>
                <c:pt idx="3">
                  <c:v/>
                </c:pt>
                <c:pt idx="4">
                  <c:v/>
                </c:pt>
                <c:pt idx="5">
                  <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1</c:v>
                </c:pt>
                <c:pt idx="2">
                  <c:v/>
                </c:pt>
                <c:pt idx="3">
                  <c:v/>
                </c:pt>
                <c:pt idx="4">
                  <c:v/>
                </c:pt>
                <c:pt idx="5">
                  <c:v/>
                </c:pt>
                <c:pt idx="6">
                  <c:v/>
                </c:pt>
              </c:strCache>
            </c:strRef>
          </c:cat>
          <c:val>
            <c:numRef>
              <c:f>Sheet1!$E$2:$E$8</c:f>
              <c:numCache>
                <c:formatCode>General</c:formatCode>
                <c:ptCount val="7"/>
                <c:pt idx="1">
                  <c:v>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4</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1</c:v>
                </c:pt>
                <c:pt idx="2">
                  <c:v/>
                </c:pt>
                <c:pt idx="3">
                  <c:v/>
                </c:pt>
                <c:pt idx="4">
                  <c:v/>
                </c:pt>
                <c:pt idx="5">
                  <c:v/>
                </c:pt>
                <c:pt idx="6">
                  <c:v/>
                </c:pt>
              </c:strCache>
            </c:strRef>
          </c:cat>
          <c:val>
            <c:numRef>
              <c:f>Sheet1!$F$2:$F$8</c:f>
              <c:numCache>
                <c:formatCode>General</c:formatCode>
                <c:ptCount val="7"/>
                <c:pt idx="3">
                  <c:v>2.1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31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C$2:$C$8</c:f>
              <c:numCache>
                <c:formatCode>General</c:formatCode>
                <c:ptCount val="7"/>
                <c:pt idx="0">
                  <c:v>1.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E$2:$E$8</c:f>
              <c:numCache>
                <c:formatCode>General</c:formatCode>
                <c:ptCount val="7"/>
                <c:pt idx="3">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F$2:$F$8</c:f>
              <c:numCache>
                <c:formatCode>General</c:formatCode>
                <c:ptCount val="7"/>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7</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77</a:t>
                    </a:r>
                  </a:p>
                  <a:p>
                    <a:r>
                      <a:t>1.6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7</c:v>
                </c:pt>
                <c:pt idx="4">
                  <c:v/>
                </c:pt>
                <c:pt idx="5">
                  <c:v/>
                </c:pt>
                <c:pt idx="6">
                  <c:v/>
                </c:pt>
              </c:strCache>
            </c:strRef>
          </c:cat>
          <c:val>
            <c:numRef>
              <c:f>Sheet1!$C$2:$C$8</c:f>
              <c:numCache>
                <c:formatCode>General</c:formatCode>
                <c:ptCount val="7"/>
                <c:pt idx="3">
                  <c:v>1.6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7</c:v>
                </c:pt>
                <c:pt idx="4">
                  <c:v/>
                </c:pt>
                <c:pt idx="5">
                  <c:v/>
                </c:pt>
                <c:pt idx="6">
                  <c:v/>
                </c:pt>
              </c:strCache>
            </c:strRef>
          </c:cat>
          <c:val>
            <c:numRef>
              <c:f>Sheet1!$D$2:$D$8</c:f>
              <c:numCache>
                <c:formatCode>General</c:formatCode>
                <c:ptCount val="7"/>
                <c:pt idx="1">
                  <c:v>0.4</c:v>
                </c:pt>
                <c:pt idx="4">
                  <c:v>0.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7</c:v>
                </c:pt>
                <c:pt idx="4">
                  <c:v/>
                </c:pt>
                <c:pt idx="5">
                  <c:v/>
                </c:pt>
                <c:pt idx="6">
                  <c:v/>
                </c:pt>
              </c:strCache>
            </c:strRef>
          </c:cat>
          <c:val>
            <c:numRef>
              <c:f>Sheet1!$E$2:$E$8</c:f>
              <c:numCache>
                <c:formatCode>General</c:formatCode>
                <c:ptCount val="7"/>
                <c:pt idx="3">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7</c:v>
                </c:pt>
                <c:pt idx="4">
                  <c:v/>
                </c:pt>
                <c:pt idx="5">
                  <c:v/>
                </c:pt>
                <c:pt idx="6">
                  <c:v/>
                </c:pt>
              </c:strCache>
            </c:strRef>
          </c:cat>
          <c:val>
            <c:numRef>
              <c:f>Sheet1!$F$2:$F$8</c:f>
              <c:numCache>
                <c:formatCode>General</c:formatCode>
                <c:ptCount val="7"/>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57</c:v>
                </c:pt>
                <c:pt idx="2">
                  <c:v/>
                </c:pt>
                <c:pt idx="3">
                  <c:v>IX 74</c:v>
                </c:pt>
                <c:pt idx="4">
                  <c:v>IX 64</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0.91</a:t>
                    </a:r>
                  </a:p>
                </c:rich>
              </c:tx>
              <c:dLblPos val="l"/>
              <c:showLegendKey val="0"/>
              <c:showVal val="1"/>
              <c:showCatName val="0"/>
              <c:showSerName val="0"/>
              <c:showPercent val="0"/>
              <c:showBubbleSize val="0"/>
            </c:dLbl>
            <c:dLbl>
              <c:idx val="1"/>
              <c:tx>
                <c:rich>
                  <a:bodyPr/>
                  <a:lstStyle/>
                  <a:p>
                    <a:r>
                      <a:t>IX 57</a:t>
                    </a:r>
                  </a:p>
                  <a:p>
                    <a:r>
                      <a:t>0.5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74</a:t>
                    </a:r>
                  </a:p>
                  <a:p>
                    <a:r>
                      <a:t>1.62</a:t>
                    </a:r>
                  </a:p>
                </c:rich>
              </c:tx>
              <c:dLblPos val="l"/>
              <c:showLegendKey val="0"/>
              <c:showVal val="1"/>
              <c:showCatName val="0"/>
              <c:showSerName val="0"/>
              <c:showPercent val="0"/>
              <c:showBubbleSize val="0"/>
            </c:dLbl>
            <c:dLbl>
              <c:idx val="4"/>
              <c:tx>
                <c:rich>
                  <a:bodyPr/>
                  <a:lstStyle/>
                  <a:p>
                    <a:r>
                      <a:t>IX 64</a:t>
                    </a:r>
                  </a:p>
                  <a:p>
                    <a:r>
                      <a:t>0.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57</c:v>
                </c:pt>
                <c:pt idx="2">
                  <c:v/>
                </c:pt>
                <c:pt idx="3">
                  <c:v>IX 74</c:v>
                </c:pt>
                <c:pt idx="4">
                  <c:v>IX 64</c:v>
                </c:pt>
                <c:pt idx="5">
                  <c:v/>
                </c:pt>
                <c:pt idx="6">
                  <c:v/>
                </c:pt>
              </c:strCache>
            </c:strRef>
          </c:cat>
          <c:val>
            <c:numRef>
              <c:f>Sheet1!$C$2:$C$8</c:f>
              <c:numCache>
                <c:formatCode>General</c:formatCode>
                <c:ptCount val="7"/>
                <c:pt idx="0">
                  <c:v>0.91</c:v>
                </c:pt>
                <c:pt idx="1">
                  <c:v>0.51</c:v>
                </c:pt>
                <c:pt idx="3">
                  <c:v>1.62</c:v>
                </c:pt>
                <c:pt idx="4">
                  <c:v>0.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57</c:v>
                </c:pt>
                <c:pt idx="2">
                  <c:v/>
                </c:pt>
                <c:pt idx="3">
                  <c:v>IX 74</c:v>
                </c:pt>
                <c:pt idx="4">
                  <c:v>IX 64</c:v>
                </c:pt>
                <c:pt idx="5">
                  <c:v/>
                </c:pt>
                <c:pt idx="6">
                  <c:v/>
                </c:pt>
              </c:strCache>
            </c:strRef>
          </c:cat>
          <c:val>
            <c:numRef>
              <c:f>Sheet1!$D$2:$D$8</c:f>
              <c:numCache>
                <c:formatCode>General</c:formatCode>
                <c:ptCount val="7"/>
                <c:pt idx="3">
                  <c:v>2.1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57</c:v>
                </c:pt>
                <c:pt idx="2">
                  <c:v/>
                </c:pt>
                <c:pt idx="3">
                  <c:v>IX 74</c:v>
                </c:pt>
                <c:pt idx="4">
                  <c:v>IX 64</c:v>
                </c:pt>
                <c:pt idx="5">
                  <c:v/>
                </c:pt>
                <c:pt idx="6">
                  <c:v/>
                </c:pt>
              </c:strCache>
            </c:strRef>
          </c:cat>
          <c:val>
            <c:numRef>
              <c:f>Sheet1!$E$2:$E$8</c:f>
              <c:numCache>
                <c:formatCode>General</c:formatCode>
                <c:ptCount val="7"/>
                <c:pt idx="1">
                  <c:v>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57</c:v>
                </c:pt>
                <c:pt idx="2">
                  <c:v/>
                </c:pt>
                <c:pt idx="3">
                  <c:v>IX 74</c:v>
                </c:pt>
                <c:pt idx="4">
                  <c:v>IX 64</c:v>
                </c:pt>
                <c:pt idx="5">
                  <c:v/>
                </c:pt>
                <c:pt idx="6">
                  <c:v/>
                </c:pt>
              </c:strCache>
            </c:strRef>
          </c:cat>
          <c:val>
            <c:numRef>
              <c:f>Sheet1!$F$2:$F$8</c:f>
              <c:numCache>
                <c:formatCode>General</c:formatCode>
                <c:ptCount val="7"/>
                <c:pt idx="1">
                  <c:v>0.4</c:v>
                </c:pt>
                <c:pt idx="4">
                  <c:v>0.3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24"/>
          <c:min val="-0.30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B$2:$B$5</c:f>
              <c:numCache>
                <c:formatCode>General</c:formatCode>
                <c:ptCount val="4"/>
                <c:pt idx="0">
                  <c:v>3.15</c:v>
                </c:pt>
                <c:pt idx="1">
                  <c:v>1.53</c:v>
                </c:pt>
                <c:pt idx="2">
                  <c:v>1.8</c:v>
                </c:pt>
                <c:pt idx="3">
                  <c:v>0.7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C$2:$C$5</c:f>
              <c:numCache>
                <c:formatCode>General</c:formatCode>
                <c:ptCount val="4"/>
                <c:pt idx="2">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D$2:$D$5</c:f>
              <c:numCache>
                <c:formatCode>General</c:formatCode>
                <c:ptCount val="4"/>
                <c:pt idx="0">
                  <c:v>3.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E$2:$E$5</c:f>
              <c:numCache>
                <c:formatCode>General</c:formatCode>
                <c:ptCount val="4"/>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F$2:$F$5</c:f>
              <c:numCache>
                <c:formatCode>General</c:formatCode>
                <c:ptCount val="4"/>
                <c:pt idx="3">
                  <c:v>0.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236"/>
          <c:min val="0.209099999999999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3</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3</a:t>
                    </a:r>
                  </a:p>
                  <a:p>
                    <a:r>
                      <a:t>0.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3</c:v>
                </c:pt>
              </c:strCache>
            </c:strRef>
          </c:cat>
          <c:val>
            <c:numRef>
              <c:f>Sheet1!$C$2:$C$3</c:f>
              <c:numCache>
                <c:formatCode>General</c:formatCode>
                <c:ptCount val="2"/>
                <c:pt idx="1">
                  <c:v>0.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3</c:v>
                </c:pt>
              </c:strCache>
            </c:strRef>
          </c:cat>
          <c:val>
            <c:numRef>
              <c:f>Sheet1!$D$2:$D$3</c:f>
              <c:numCache>
                <c:formatCode>General</c:formatCode>
                <c:ptCount val="2"/>
                <c:pt idx="0">
                  <c:v>2.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3</c:v>
                </c:pt>
              </c:strCache>
            </c:strRef>
          </c:cat>
          <c:val>
            <c:numRef>
              <c:f>Sheet1!$E$2:$E$3</c:f>
              <c:numCache>
                <c:formatCode>General</c:formatCode>
                <c:ptCount val="2"/>
                <c:pt idx="0">
                  <c:v>1.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3</c:v>
                </c:pt>
              </c:strCache>
            </c:strRef>
          </c:cat>
          <c:val>
            <c:numRef>
              <c:f>Sheet1!$F$2:$F$3</c:f>
              <c:numCache>
                <c:formatCode>General</c:formatCode>
                <c:ptCount val="2"/>
                <c:pt idx="1">
                  <c:v>0.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426"/>
          <c:min val="-0.1167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0.61</c:v>
                </c:pt>
                <c:pt idx="1">
                  <c:v>0.91</c:v>
                </c:pt>
                <c:pt idx="2">
                  <c:v>1.97</c:v>
                </c:pt>
                <c:pt idx="3">
                  <c:v>0.05</c:v>
                </c:pt>
                <c:pt idx="4">
                  <c:v>0.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0.9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0.6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4">
                  <c:v>0.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pt idx="3">
                  <c:v>0.0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680999999999997"/>
          <c:min val="-0.446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B$2:$B$6</c:f>
              <c:numCache>
                <c:formatCode>General</c:formatCode>
                <c:ptCount val="5"/>
                <c:pt idx="0">
                  <c:v>0.61</c:v>
                </c:pt>
                <c:pt idx="1">
                  <c:v>0.91</c:v>
                </c:pt>
                <c:pt idx="2">
                  <c:v>1.97</c:v>
                </c:pt>
                <c:pt idx="3">
                  <c:v>0.05</c:v>
                </c:pt>
                <c:pt idx="4">
                  <c:v>0.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0.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C$2:$C$6</c:f>
              <c:numCache>
                <c:formatCode>General</c:formatCode>
                <c:ptCount val="5"/>
                <c:pt idx="0">
                  <c:v>0.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D$2:$D$6</c:f>
              <c:numCache>
                <c:formatCode>General</c:formatCode>
                <c:ptCount val="5"/>
                <c:pt idx="0">
                  <c:v>0.6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E$2:$E$6</c:f>
              <c:numCache>
                <c:formatCode>General</c:formatCode>
                <c:ptCount val="5"/>
                <c:pt idx="4">
                  <c:v>0.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F$2:$F$6</c:f>
              <c:numCache>
                <c:formatCode>General</c:formatCode>
                <c:ptCount val="5"/>
                <c:pt idx="3">
                  <c:v>0.0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680999999999997"/>
          <c:min val="-0.446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34</c:v>
                </c:pt>
                <c:pt idx="1">
                  <c:v/>
                </c:pt>
                <c:pt idx="2">
                  <c:v/>
                </c:pt>
                <c:pt idx="3">
                  <c:v/>
                </c:pt>
                <c:pt idx="4">
                  <c:v>IX 10</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4</a:t>
                    </a:r>
                  </a:p>
                  <a:p>
                    <a:r>
                      <a:t>7.4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a:t>
                    </a:r>
                  </a:p>
                  <a:p>
                    <a:r>
                      <a:t>2.6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34</c:v>
                </c:pt>
                <c:pt idx="1">
                  <c:v/>
                </c:pt>
                <c:pt idx="2">
                  <c:v/>
                </c:pt>
                <c:pt idx="3">
                  <c:v/>
                </c:pt>
                <c:pt idx="4">
                  <c:v>IX 10</c:v>
                </c:pt>
                <c:pt idx="5">
                  <c:v/>
                </c:pt>
                <c:pt idx="6">
                  <c:v/>
                </c:pt>
              </c:strCache>
            </c:strRef>
          </c:cat>
          <c:val>
            <c:numRef>
              <c:f>Sheet1!$C$2:$C$8</c:f>
              <c:numCache>
                <c:formatCode>General</c:formatCode>
                <c:ptCount val="7"/>
                <c:pt idx="0">
                  <c:v>7.43</c:v>
                </c:pt>
                <c:pt idx="4">
                  <c:v>2.6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34</c:v>
                </c:pt>
                <c:pt idx="1">
                  <c:v/>
                </c:pt>
                <c:pt idx="2">
                  <c:v/>
                </c:pt>
                <c:pt idx="3">
                  <c:v/>
                </c:pt>
                <c:pt idx="4">
                  <c:v>IX 10</c:v>
                </c:pt>
                <c:pt idx="5">
                  <c:v/>
                </c:pt>
                <c:pt idx="6">
                  <c:v/>
                </c:pt>
              </c:strCache>
            </c:strRef>
          </c:cat>
          <c:val>
            <c:numRef>
              <c:f>Sheet1!$D$2:$D$8</c:f>
              <c:numCache>
                <c:formatCode>General</c:formatCode>
                <c:ptCount val="7"/>
                <c:pt idx="0">
                  <c:v>5.53</c:v>
                </c:pt>
                <c:pt idx="4">
                  <c:v>25.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34</c:v>
                </c:pt>
                <c:pt idx="1">
                  <c:v/>
                </c:pt>
                <c:pt idx="2">
                  <c:v/>
                </c:pt>
                <c:pt idx="3">
                  <c:v/>
                </c:pt>
                <c:pt idx="4">
                  <c:v>IX 10</c:v>
                </c:pt>
                <c:pt idx="5">
                  <c:v/>
                </c:pt>
                <c:pt idx="6">
                  <c:v/>
                </c:pt>
              </c:strCache>
            </c:strRef>
          </c:cat>
          <c:val>
            <c:numRef>
              <c:f>Sheet1!$E$2:$E$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34</c:v>
                </c:pt>
                <c:pt idx="1">
                  <c:v/>
                </c:pt>
                <c:pt idx="2">
                  <c:v/>
                </c:pt>
                <c:pt idx="3">
                  <c:v/>
                </c:pt>
                <c:pt idx="4">
                  <c:v>IX 10</c:v>
                </c:pt>
                <c:pt idx="5">
                  <c:v/>
                </c:pt>
                <c:pt idx="6">
                  <c:v/>
                </c:pt>
              </c:strCache>
            </c:strRef>
          </c:cat>
          <c:val>
            <c:numRef>
              <c:f>Sheet1!$F$2:$F$8</c:f>
              <c:numCache>
                <c:formatCode>General</c:formatCode>
                <c:ptCount val="7"/>
                <c:pt idx="1">
                  <c:v>3.94</c:v>
                </c:pt>
                <c:pt idx="4">
                  <c:v>1.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863"/>
          <c:min val="1.27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IX 8</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8</a:t>
                    </a:r>
                  </a:p>
                  <a:p>
                    <a:r>
                      <a:t>3.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a:t>
                    </a:r>
                  </a:p>
                  <a:p>
                    <a:r>
                      <a:t>2.11</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IX 8</c:v>
                </c:pt>
                <c:pt idx="5">
                  <c:v/>
                </c:pt>
                <c:pt idx="6">
                  <c:v/>
                </c:pt>
              </c:strCache>
            </c:strRef>
          </c:cat>
          <c:val>
            <c:numRef>
              <c:f>Sheet1!$C$2:$C$8</c:f>
              <c:numCache>
                <c:formatCode>General</c:formatCode>
                <c:ptCount val="7"/>
                <c:pt idx="0">
                  <c:v>3.2</c:v>
                </c:pt>
                <c:pt idx="4">
                  <c:v>2.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IX 8</c:v>
                </c:pt>
                <c:pt idx="5">
                  <c:v/>
                </c:pt>
                <c:pt idx="6">
                  <c:v/>
                </c:pt>
              </c:strCache>
            </c:strRef>
          </c:cat>
          <c:val>
            <c:numRef>
              <c:f>Sheet1!$D$2:$D$8</c:f>
              <c:numCache>
                <c:formatCode>General</c:formatCode>
                <c:ptCount val="7"/>
                <c:pt idx="0">
                  <c:v>5.53</c:v>
                </c:pt>
                <c:pt idx="4">
                  <c:v>25.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IX 8</c:v>
                </c:pt>
                <c:pt idx="5">
                  <c:v/>
                </c:pt>
                <c:pt idx="6">
                  <c:v/>
                </c:pt>
              </c:strCache>
            </c:strRef>
          </c:cat>
          <c:val>
            <c:numRef>
              <c:f>Sheet1!$E$2:$E$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IX 8</c:v>
                </c:pt>
                <c:pt idx="5">
                  <c:v/>
                </c:pt>
                <c:pt idx="6">
                  <c:v/>
                </c:pt>
              </c:strCache>
            </c:strRef>
          </c:cat>
          <c:val>
            <c:numRef>
              <c:f>Sheet1!$F$2:$F$8</c:f>
              <c:numCache>
                <c:formatCode>General</c:formatCode>
                <c:ptCount val="7"/>
                <c:pt idx="1">
                  <c:v>3.94</c:v>
                </c:pt>
                <c:pt idx="4">
                  <c:v>1.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863"/>
          <c:min val="1.27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83</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83</a:t>
                    </a:r>
                  </a:p>
                  <a:p>
                    <a:r>
                      <a:t>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83</c:v>
                </c:pt>
              </c:strCache>
            </c:strRef>
          </c:cat>
          <c:val>
            <c:numRef>
              <c:f>Sheet1!$C$2:$C$8</c:f>
              <c:numCache>
                <c:formatCode>General</c:formatCode>
                <c:ptCount val="7"/>
                <c:pt idx="6">
                  <c:v>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83</c:v>
                </c:pt>
              </c:strCache>
            </c:strRef>
          </c:cat>
          <c:val>
            <c:numRef>
              <c:f>Sheet1!$D$2:$D$8</c:f>
              <c:numCache>
                <c:formatCode>General</c:formatCode>
                <c:ptCount val="7"/>
                <c:pt idx="0">
                  <c:v>5.53</c:v>
                </c:pt>
                <c:pt idx="4">
                  <c:v>25.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83</c:v>
                </c:pt>
              </c:strCache>
            </c:strRef>
          </c:cat>
          <c:val>
            <c:numRef>
              <c:f>Sheet1!$E$2:$E$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83</c:v>
                </c:pt>
              </c:strCache>
            </c:strRef>
          </c:cat>
          <c:val>
            <c:numRef>
              <c:f>Sheet1!$F$2:$F$8</c:f>
              <c:numCache>
                <c:formatCode>General</c:formatCode>
                <c:ptCount val="7"/>
                <c:pt idx="1">
                  <c:v>3.94</c:v>
                </c:pt>
                <c:pt idx="4">
                  <c:v>1.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863"/>
          <c:min val="1.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0</c:v>
                </c:pt>
                <c:pt idx="2">
                  <c:v/>
                </c:pt>
                <c:pt idx="3">
                  <c:v/>
                </c:pt>
                <c:pt idx="4">
                  <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0</a:t>
                    </a:r>
                  </a:p>
                  <a:p>
                    <a:r>
                      <a:t>2.3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0</c:v>
                </c:pt>
                <c:pt idx="2">
                  <c:v/>
                </c:pt>
                <c:pt idx="3">
                  <c:v/>
                </c:pt>
                <c:pt idx="4">
                  <c:v/>
                </c:pt>
                <c:pt idx="5">
                  <c:v/>
                </c:pt>
                <c:pt idx="6">
                  <c:v/>
                </c:pt>
              </c:strCache>
            </c:strRef>
          </c:cat>
          <c:val>
            <c:numRef>
              <c:f>Sheet1!$C$2:$C$8</c:f>
              <c:numCache>
                <c:formatCode>General</c:formatCode>
                <c:ptCount val="7"/>
                <c:pt idx="1">
                  <c:v>2.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0</c:v>
                </c:pt>
                <c:pt idx="2">
                  <c:v/>
                </c:pt>
                <c:pt idx="3">
                  <c:v/>
                </c:pt>
                <c:pt idx="4">
                  <c:v/>
                </c:pt>
                <c:pt idx="5">
                  <c:v/>
                </c:pt>
                <c:pt idx="6">
                  <c:v/>
                </c:pt>
              </c:strCache>
            </c:strRef>
          </c:cat>
          <c:val>
            <c:numRef>
              <c:f>Sheet1!$D$2:$D$8</c:f>
              <c:numCache>
                <c:formatCode>General</c:formatCode>
                <c:ptCount val="7"/>
                <c:pt idx="0">
                  <c:v>5.53</c:v>
                </c:pt>
                <c:pt idx="4">
                  <c:v>25.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0</c:v>
                </c:pt>
                <c:pt idx="2">
                  <c:v/>
                </c:pt>
                <c:pt idx="3">
                  <c:v/>
                </c:pt>
                <c:pt idx="4">
                  <c:v/>
                </c:pt>
                <c:pt idx="5">
                  <c:v/>
                </c:pt>
                <c:pt idx="6">
                  <c:v/>
                </c:pt>
              </c:strCache>
            </c:strRef>
          </c:cat>
          <c:val>
            <c:numRef>
              <c:f>Sheet1!$E$2:$E$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0</c:v>
                </c:pt>
                <c:pt idx="2">
                  <c:v/>
                </c:pt>
                <c:pt idx="3">
                  <c:v/>
                </c:pt>
                <c:pt idx="4">
                  <c:v/>
                </c:pt>
                <c:pt idx="5">
                  <c:v/>
                </c:pt>
                <c:pt idx="6">
                  <c:v/>
                </c:pt>
              </c:strCache>
            </c:strRef>
          </c:cat>
          <c:val>
            <c:numRef>
              <c:f>Sheet1!$F$2:$F$8</c:f>
              <c:numCache>
                <c:formatCode>General</c:formatCode>
                <c:ptCount val="7"/>
                <c:pt idx="1">
                  <c:v>3.94</c:v>
                </c:pt>
                <c:pt idx="4">
                  <c:v>1.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863"/>
          <c:min val="1.27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8</c:v>
                </c:pt>
                <c:pt idx="2">
                  <c:v/>
                </c:pt>
                <c:pt idx="3">
                  <c:v/>
                </c:pt>
                <c:pt idx="4">
                  <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8</a:t>
                    </a:r>
                  </a:p>
                  <a:p>
                    <a:r>
                      <a:t>2.6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8</c:v>
                </c:pt>
                <c:pt idx="2">
                  <c:v/>
                </c:pt>
                <c:pt idx="3">
                  <c:v/>
                </c:pt>
                <c:pt idx="4">
                  <c:v/>
                </c:pt>
                <c:pt idx="5">
                  <c:v/>
                </c:pt>
                <c:pt idx="6">
                  <c:v/>
                </c:pt>
              </c:strCache>
            </c:strRef>
          </c:cat>
          <c:val>
            <c:numRef>
              <c:f>Sheet1!$C$2:$C$8</c:f>
              <c:numCache>
                <c:formatCode>General</c:formatCode>
                <c:ptCount val="7"/>
                <c:pt idx="1">
                  <c:v>2.6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8</c:v>
                </c:pt>
                <c:pt idx="2">
                  <c:v/>
                </c:pt>
                <c:pt idx="3">
                  <c:v/>
                </c:pt>
                <c:pt idx="4">
                  <c:v/>
                </c:pt>
                <c:pt idx="5">
                  <c:v/>
                </c:pt>
                <c:pt idx="6">
                  <c:v/>
                </c:pt>
              </c:strCache>
            </c:strRef>
          </c:cat>
          <c:val>
            <c:numRef>
              <c:f>Sheet1!$D$2:$D$8</c:f>
              <c:numCache>
                <c:formatCode>General</c:formatCode>
                <c:ptCount val="7"/>
                <c:pt idx="0">
                  <c:v>5.53</c:v>
                </c:pt>
                <c:pt idx="4">
                  <c:v>25.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8</c:v>
                </c:pt>
                <c:pt idx="2">
                  <c:v/>
                </c:pt>
                <c:pt idx="3">
                  <c:v/>
                </c:pt>
                <c:pt idx="4">
                  <c:v/>
                </c:pt>
                <c:pt idx="5">
                  <c:v/>
                </c:pt>
                <c:pt idx="6">
                  <c:v/>
                </c:pt>
              </c:strCache>
            </c:strRef>
          </c:cat>
          <c:val>
            <c:numRef>
              <c:f>Sheet1!$E$2:$E$8</c:f>
              <c:numCache>
                <c:formatCode>General</c:formatCode>
                <c:ptCount val="7"/>
                <c:pt idx="1">
                  <c:v>3.94</c:v>
                </c:pt>
                <c:pt idx="4">
                  <c:v>1.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8</c:v>
                </c:pt>
                <c:pt idx="2">
                  <c:v/>
                </c:pt>
                <c:pt idx="3">
                  <c:v/>
                </c:pt>
                <c:pt idx="4">
                  <c:v/>
                </c:pt>
                <c:pt idx="5">
                  <c:v/>
                </c:pt>
                <c:pt idx="6">
                  <c:v/>
                </c:pt>
              </c:strCache>
            </c:strRef>
          </c:cat>
          <c:val>
            <c:numRef>
              <c:f>Sheet1!$F$2:$F$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863"/>
          <c:min val="1.27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
                </c:pt>
                <c:pt idx="2">
                  <c:v/>
                </c:pt>
                <c:pt idx="3">
                  <c:v/>
                </c:pt>
                <c:pt idx="4">
                  <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6</a:t>
                    </a:r>
                  </a:p>
                  <a:p>
                    <a:r>
                      <a:t>4.2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
                </c:pt>
                <c:pt idx="2">
                  <c:v/>
                </c:pt>
                <c:pt idx="3">
                  <c:v/>
                </c:pt>
                <c:pt idx="4">
                  <c:v/>
                </c:pt>
                <c:pt idx="5">
                  <c:v/>
                </c:pt>
                <c:pt idx="6">
                  <c:v/>
                </c:pt>
              </c:strCache>
            </c:strRef>
          </c:cat>
          <c:val>
            <c:numRef>
              <c:f>Sheet1!$C$2:$C$8</c:f>
              <c:numCache>
                <c:formatCode>General</c:formatCode>
                <c:ptCount val="7"/>
                <c:pt idx="0">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
                </c:pt>
                <c:pt idx="2">
                  <c:v/>
                </c:pt>
                <c:pt idx="3">
                  <c:v/>
                </c:pt>
                <c:pt idx="4">
                  <c:v/>
                </c:pt>
                <c:pt idx="5">
                  <c:v/>
                </c:pt>
                <c:pt idx="6">
                  <c:v/>
                </c:pt>
              </c:strCache>
            </c:strRef>
          </c:cat>
          <c:val>
            <c:numRef>
              <c:f>Sheet1!$D$2:$D$8</c:f>
              <c:numCache>
                <c:formatCode>General</c:formatCode>
                <c:ptCount val="7"/>
                <c:pt idx="0">
                  <c:v>5.53</c:v>
                </c:pt>
                <c:pt idx="4">
                  <c:v>25.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
                </c:pt>
                <c:pt idx="2">
                  <c:v/>
                </c:pt>
                <c:pt idx="3">
                  <c:v/>
                </c:pt>
                <c:pt idx="4">
                  <c:v/>
                </c:pt>
                <c:pt idx="5">
                  <c:v/>
                </c:pt>
                <c:pt idx="6">
                  <c:v/>
                </c:pt>
              </c:strCache>
            </c:strRef>
          </c:cat>
          <c:val>
            <c:numRef>
              <c:f>Sheet1!$E$2:$E$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
                </c:pt>
                <c:pt idx="2">
                  <c:v/>
                </c:pt>
                <c:pt idx="3">
                  <c:v/>
                </c:pt>
                <c:pt idx="4">
                  <c:v/>
                </c:pt>
                <c:pt idx="5">
                  <c:v/>
                </c:pt>
                <c:pt idx="6">
                  <c:v/>
                </c:pt>
              </c:strCache>
            </c:strRef>
          </c:cat>
          <c:val>
            <c:numRef>
              <c:f>Sheet1!$F$2:$F$8</c:f>
              <c:numCache>
                <c:formatCode>General</c:formatCode>
                <c:ptCount val="7"/>
                <c:pt idx="1">
                  <c:v>3.94</c:v>
                </c:pt>
                <c:pt idx="4">
                  <c:v>1.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863"/>
          <c:min val="1.27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5</c:v>
                </c:pt>
                <c:pt idx="1">
                  <c:v/>
                </c:pt>
                <c:pt idx="2">
                  <c:v/>
                </c:pt>
                <c:pt idx="3">
                  <c:v/>
                </c:pt>
                <c:pt idx="4">
                  <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a:t>
                    </a:r>
                  </a:p>
                  <a:p>
                    <a:r>
                      <a:t>1.3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5</c:v>
                </c:pt>
                <c:pt idx="1">
                  <c:v/>
                </c:pt>
                <c:pt idx="2">
                  <c:v/>
                </c:pt>
                <c:pt idx="3">
                  <c:v/>
                </c:pt>
                <c:pt idx="4">
                  <c:v/>
                </c:pt>
                <c:pt idx="5">
                  <c:v/>
                </c:pt>
                <c:pt idx="6">
                  <c:v/>
                </c:pt>
              </c:strCache>
            </c:strRef>
          </c:cat>
          <c:val>
            <c:numRef>
              <c:f>Sheet1!$C$2:$C$8</c:f>
              <c:numCache>
                <c:formatCode>General</c:formatCode>
                <c:ptCount val="7"/>
                <c:pt idx="0">
                  <c:v>1.3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5</c:v>
                </c:pt>
                <c:pt idx="1">
                  <c:v/>
                </c:pt>
                <c:pt idx="2">
                  <c:v/>
                </c:pt>
                <c:pt idx="3">
                  <c:v/>
                </c:pt>
                <c:pt idx="4">
                  <c:v/>
                </c:pt>
                <c:pt idx="5">
                  <c:v/>
                </c:pt>
                <c:pt idx="6">
                  <c:v/>
                </c:pt>
              </c:strCache>
            </c:strRef>
          </c:cat>
          <c:val>
            <c:numRef>
              <c:f>Sheet1!$D$2:$D$8</c:f>
              <c:numCache>
                <c:formatCode>General</c:formatCode>
                <c:ptCount val="7"/>
                <c:pt idx="0">
                  <c:v>5.53</c:v>
                </c:pt>
                <c:pt idx="4">
                  <c:v>25.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5</c:v>
                </c:pt>
                <c:pt idx="1">
                  <c:v/>
                </c:pt>
                <c:pt idx="2">
                  <c:v/>
                </c:pt>
                <c:pt idx="3">
                  <c:v/>
                </c:pt>
                <c:pt idx="4">
                  <c:v/>
                </c:pt>
                <c:pt idx="5">
                  <c:v/>
                </c:pt>
                <c:pt idx="6">
                  <c:v/>
                </c:pt>
              </c:strCache>
            </c:strRef>
          </c:cat>
          <c:val>
            <c:numRef>
              <c:f>Sheet1!$E$2:$E$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5</c:v>
                </c:pt>
                <c:pt idx="1">
                  <c:v/>
                </c:pt>
                <c:pt idx="2">
                  <c:v/>
                </c:pt>
                <c:pt idx="3">
                  <c:v/>
                </c:pt>
                <c:pt idx="4">
                  <c:v/>
                </c:pt>
                <c:pt idx="5">
                  <c:v/>
                </c:pt>
                <c:pt idx="6">
                  <c:v/>
                </c:pt>
              </c:strCache>
            </c:strRef>
          </c:cat>
          <c:val>
            <c:numRef>
              <c:f>Sheet1!$F$2:$F$8</c:f>
              <c:numCache>
                <c:formatCode>General</c:formatCode>
                <c:ptCount val="7"/>
                <c:pt idx="1">
                  <c:v>3.94</c:v>
                </c:pt>
                <c:pt idx="4">
                  <c:v>1.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863"/>
          <c:min val="0.8684000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9</c:v>
                </c:pt>
                <c:pt idx="2">
                  <c:v/>
                </c:pt>
                <c:pt idx="3">
                  <c:v/>
                </c:pt>
                <c:pt idx="4">
                  <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9</a:t>
                    </a:r>
                  </a:p>
                  <a:p>
                    <a:r>
                      <a:t>1.1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9</c:v>
                </c:pt>
                <c:pt idx="2">
                  <c:v/>
                </c:pt>
                <c:pt idx="3">
                  <c:v/>
                </c:pt>
                <c:pt idx="4">
                  <c:v/>
                </c:pt>
                <c:pt idx="5">
                  <c:v/>
                </c:pt>
                <c:pt idx="6">
                  <c:v/>
                </c:pt>
              </c:strCache>
            </c:strRef>
          </c:cat>
          <c:val>
            <c:numRef>
              <c:f>Sheet1!$C$2:$C$8</c:f>
              <c:numCache>
                <c:formatCode>General</c:formatCode>
                <c:ptCount val="7"/>
                <c:pt idx="1">
                  <c:v>1.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9</c:v>
                </c:pt>
                <c:pt idx="2">
                  <c:v/>
                </c:pt>
                <c:pt idx="3">
                  <c:v/>
                </c:pt>
                <c:pt idx="4">
                  <c:v/>
                </c:pt>
                <c:pt idx="5">
                  <c:v/>
                </c:pt>
                <c:pt idx="6">
                  <c:v/>
                </c:pt>
              </c:strCache>
            </c:strRef>
          </c:cat>
          <c:val>
            <c:numRef>
              <c:f>Sheet1!$D$2:$D$8</c:f>
              <c:numCache>
                <c:formatCode>General</c:formatCode>
                <c:ptCount val="7"/>
                <c:pt idx="0">
                  <c:v>5.53</c:v>
                </c:pt>
                <c:pt idx="4">
                  <c:v>25.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9</c:v>
                </c:pt>
                <c:pt idx="2">
                  <c:v/>
                </c:pt>
                <c:pt idx="3">
                  <c:v/>
                </c:pt>
                <c:pt idx="4">
                  <c:v/>
                </c:pt>
                <c:pt idx="5">
                  <c:v/>
                </c:pt>
                <c:pt idx="6">
                  <c:v/>
                </c:pt>
              </c:strCache>
            </c:strRef>
          </c:cat>
          <c:val>
            <c:numRef>
              <c:f>Sheet1!$E$2:$E$8</c:f>
              <c:numCache>
                <c:formatCode>General</c:formatCode>
                <c:ptCount val="7"/>
                <c:pt idx="1">
                  <c:v>3.94</c:v>
                </c:pt>
                <c:pt idx="4">
                  <c:v>1.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9</c:v>
                </c:pt>
                <c:pt idx="2">
                  <c:v/>
                </c:pt>
                <c:pt idx="3">
                  <c:v/>
                </c:pt>
                <c:pt idx="4">
                  <c:v/>
                </c:pt>
                <c:pt idx="5">
                  <c:v/>
                </c:pt>
                <c:pt idx="6">
                  <c:v/>
                </c:pt>
              </c:strCache>
            </c:strRef>
          </c:cat>
          <c:val>
            <c:numRef>
              <c:f>Sheet1!$F$2:$F$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863"/>
          <c:min val="0.6578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6</c:v>
                </c:pt>
                <c:pt idx="1">
                  <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6</a:t>
                    </a:r>
                  </a:p>
                  <a:p>
                    <a:r>
                      <a:t>5.3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6</c:v>
                </c:pt>
                <c:pt idx="1">
                  <c:v/>
                </c:pt>
              </c:strCache>
            </c:strRef>
          </c:cat>
          <c:val>
            <c:numRef>
              <c:f>Sheet1!$C$2:$C$3</c:f>
              <c:numCache>
                <c:formatCode>General</c:formatCode>
                <c:ptCount val="2"/>
                <c:pt idx="0">
                  <c:v>5.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6</c:v>
                </c:pt>
                <c:pt idx="1">
                  <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6</c:v>
                </c:pt>
                <c:pt idx="1">
                  <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6</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327"/>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59</c:v>
                </c:pt>
                <c:pt idx="2">
                  <c:v/>
                </c:pt>
                <c:pt idx="3">
                  <c:v/>
                </c:pt>
                <c:pt idx="4">
                  <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9</a:t>
                    </a:r>
                  </a:p>
                  <a:p>
                    <a:r>
                      <a:t>2.3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59</c:v>
                </c:pt>
                <c:pt idx="2">
                  <c:v/>
                </c:pt>
                <c:pt idx="3">
                  <c:v/>
                </c:pt>
                <c:pt idx="4">
                  <c:v/>
                </c:pt>
                <c:pt idx="5">
                  <c:v/>
                </c:pt>
                <c:pt idx="6">
                  <c:v/>
                </c:pt>
              </c:strCache>
            </c:strRef>
          </c:cat>
          <c:val>
            <c:numRef>
              <c:f>Sheet1!$C$2:$C$8</c:f>
              <c:numCache>
                <c:formatCode>General</c:formatCode>
                <c:ptCount val="7"/>
                <c:pt idx="1">
                  <c:v>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59</c:v>
                </c:pt>
                <c:pt idx="2">
                  <c:v/>
                </c:pt>
                <c:pt idx="3">
                  <c:v/>
                </c:pt>
                <c:pt idx="4">
                  <c:v/>
                </c:pt>
                <c:pt idx="5">
                  <c:v/>
                </c:pt>
                <c:pt idx="6">
                  <c:v/>
                </c:pt>
              </c:strCache>
            </c:strRef>
          </c:cat>
          <c:val>
            <c:numRef>
              <c:f>Sheet1!$D$2:$D$8</c:f>
              <c:numCache>
                <c:formatCode>General</c:formatCode>
                <c:ptCount val="7"/>
                <c:pt idx="0">
                  <c:v>5.53</c:v>
                </c:pt>
                <c:pt idx="4">
                  <c:v>25.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59</c:v>
                </c:pt>
                <c:pt idx="2">
                  <c:v/>
                </c:pt>
                <c:pt idx="3">
                  <c:v/>
                </c:pt>
                <c:pt idx="4">
                  <c:v/>
                </c:pt>
                <c:pt idx="5">
                  <c:v/>
                </c:pt>
                <c:pt idx="6">
                  <c:v/>
                </c:pt>
              </c:strCache>
            </c:strRef>
          </c:cat>
          <c:val>
            <c:numRef>
              <c:f>Sheet1!$E$2:$E$8</c:f>
              <c:numCache>
                <c:formatCode>General</c:formatCode>
                <c:ptCount val="7"/>
                <c:pt idx="1">
                  <c:v>3.94</c:v>
                </c:pt>
                <c:pt idx="4">
                  <c:v>1.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59</c:v>
                </c:pt>
                <c:pt idx="2">
                  <c:v/>
                </c:pt>
                <c:pt idx="3">
                  <c:v/>
                </c:pt>
                <c:pt idx="4">
                  <c:v/>
                </c:pt>
                <c:pt idx="5">
                  <c:v/>
                </c:pt>
                <c:pt idx="6">
                  <c:v/>
                </c:pt>
              </c:strCache>
            </c:strRef>
          </c:cat>
          <c:val>
            <c:numRef>
              <c:f>Sheet1!$F$2:$F$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863"/>
          <c:min val="1.27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2</c:v>
                </c:pt>
                <c:pt idx="1">
                  <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2</a:t>
                    </a:r>
                  </a:p>
                  <a:p>
                    <a:r>
                      <a:t>3.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2</c:v>
                </c:pt>
                <c:pt idx="1">
                  <c:v/>
                </c:pt>
                <c:pt idx="2">
                  <c:v/>
                </c:pt>
                <c:pt idx="3">
                  <c:v/>
                </c:pt>
                <c:pt idx="4">
                  <c:v/>
                </c:pt>
                <c:pt idx="5">
                  <c:v/>
                </c:pt>
                <c:pt idx="6">
                  <c:v/>
                </c:pt>
              </c:strCache>
            </c:strRef>
          </c:cat>
          <c:val>
            <c:numRef>
              <c:f>Sheet1!$C$2:$C$8</c:f>
              <c:numCache>
                <c:formatCode>General</c:formatCode>
                <c:ptCount val="7"/>
                <c:pt idx="0">
                  <c:v>3.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2</c:v>
                </c:pt>
                <c:pt idx="1">
                  <c:v/>
                </c:pt>
                <c:pt idx="2">
                  <c:v/>
                </c:pt>
                <c:pt idx="3">
                  <c:v/>
                </c:pt>
                <c:pt idx="4">
                  <c:v/>
                </c:pt>
                <c:pt idx="5">
                  <c:v/>
                </c:pt>
                <c:pt idx="6">
                  <c:v/>
                </c:pt>
              </c:strCache>
            </c:strRef>
          </c:cat>
          <c:val>
            <c:numRef>
              <c:f>Sheet1!$D$2:$D$8</c:f>
              <c:numCache>
                <c:formatCode>General</c:formatCode>
                <c:ptCount val="7"/>
                <c:pt idx="0">
                  <c:v>4.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2</c:v>
                </c:pt>
                <c:pt idx="1">
                  <c:v/>
                </c:pt>
                <c:pt idx="2">
                  <c:v/>
                </c:pt>
                <c:pt idx="3">
                  <c:v/>
                </c:pt>
                <c:pt idx="4">
                  <c:v/>
                </c:pt>
                <c:pt idx="5">
                  <c:v/>
                </c:pt>
                <c:pt idx="6">
                  <c:v/>
                </c:pt>
              </c:strCache>
            </c:strRef>
          </c:cat>
          <c:val>
            <c:numRef>
              <c:f>Sheet1!$E$2:$E$8</c:f>
              <c:numCache>
                <c:formatCode>General</c:formatCode>
                <c:ptCount val="7"/>
                <c:pt idx="2">
                  <c:v>2.19</c:v>
                </c:pt>
                <c:pt idx="4">
                  <c:v>0.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2</c:v>
                </c:pt>
                <c:pt idx="1">
                  <c:v/>
                </c:pt>
                <c:pt idx="2">
                  <c:v/>
                </c:pt>
                <c:pt idx="3">
                  <c:v/>
                </c:pt>
                <c:pt idx="4">
                  <c:v/>
                </c:pt>
                <c:pt idx="5">
                  <c:v/>
                </c:pt>
                <c:pt idx="6">
                  <c:v/>
                </c:pt>
              </c:strCache>
            </c:strRef>
          </c:cat>
          <c:val>
            <c:numRef>
              <c:f>Sheet1!$F$2:$F$8</c:f>
              <c:numCache>
                <c:formatCode>General</c:formatCode>
                <c:ptCount val="7"/>
                <c:pt idx="1">
                  <c:v>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61"/>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3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
                </c:pt>
                <c:pt idx="2">
                  <c:v/>
                </c:pt>
                <c:pt idx="3">
                  <c:v/>
                </c:pt>
                <c:pt idx="4">
                  <c:v/>
                </c:pt>
                <c:pt idx="5">
                  <c:v/>
                </c:pt>
                <c:pt idx="6">
                  <c:v/>
                </c:pt>
              </c:strCache>
            </c:strRef>
          </c:cat>
          <c:val>
            <c:numRef>
              <c:f>Sheet1!$C$2:$C$8</c:f>
              <c:numCache>
                <c:formatCode>General</c:formatCode>
                <c:ptCount val="7"/>
                <c:pt idx="0">
                  <c:v>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
                </c:pt>
                <c:pt idx="2">
                  <c:v/>
                </c:pt>
                <c:pt idx="3">
                  <c:v/>
                </c:pt>
                <c:pt idx="4">
                  <c:v/>
                </c:pt>
                <c:pt idx="5">
                  <c:v/>
                </c:pt>
                <c:pt idx="6">
                  <c:v/>
                </c:pt>
              </c:strCache>
            </c:strRef>
          </c:cat>
          <c:val>
            <c:numRef>
              <c:f>Sheet1!$D$2:$D$8</c:f>
              <c:numCache>
                <c:formatCode>General</c:formatCode>
                <c:ptCount val="7"/>
                <c:pt idx="0">
                  <c:v>4.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
                </c:pt>
                <c:pt idx="2">
                  <c:v/>
                </c:pt>
                <c:pt idx="3">
                  <c:v/>
                </c:pt>
                <c:pt idx="4">
                  <c:v/>
                </c:pt>
                <c:pt idx="5">
                  <c:v/>
                </c:pt>
                <c:pt idx="6">
                  <c:v/>
                </c:pt>
              </c:strCache>
            </c:strRef>
          </c:cat>
          <c:val>
            <c:numRef>
              <c:f>Sheet1!$E$2:$E$8</c:f>
              <c:numCache>
                <c:formatCode>General</c:formatCode>
                <c:ptCount val="7"/>
                <c:pt idx="1">
                  <c:v>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
                </c:pt>
                <c:pt idx="2">
                  <c:v/>
                </c:pt>
                <c:pt idx="3">
                  <c:v/>
                </c:pt>
                <c:pt idx="4">
                  <c:v/>
                </c:pt>
                <c:pt idx="5">
                  <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61"/>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82</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2</a:t>
                    </a:r>
                  </a:p>
                  <a:p>
                    <a:r>
                      <a:t>0.6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82</c:v>
                </c:pt>
                <c:pt idx="5">
                  <c:v/>
                </c:pt>
                <c:pt idx="6">
                  <c:v/>
                </c:pt>
              </c:strCache>
            </c:strRef>
          </c:cat>
          <c:val>
            <c:numRef>
              <c:f>Sheet1!$C$2:$C$8</c:f>
              <c:numCache>
                <c:formatCode>General</c:formatCode>
                <c:ptCount val="7"/>
                <c:pt idx="4">
                  <c:v>0.6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82</c:v>
                </c:pt>
                <c:pt idx="5">
                  <c:v/>
                </c:pt>
                <c:pt idx="6">
                  <c:v/>
                </c:pt>
              </c:strCache>
            </c:strRef>
          </c:cat>
          <c:val>
            <c:numRef>
              <c:f>Sheet1!$D$2:$D$8</c:f>
              <c:numCache>
                <c:formatCode>General</c:formatCode>
                <c:ptCount val="7"/>
                <c:pt idx="0">
                  <c:v>4.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82</c:v>
                </c:pt>
                <c:pt idx="5">
                  <c:v/>
                </c:pt>
                <c:pt idx="6">
                  <c:v/>
                </c:pt>
              </c:strCache>
            </c:strRef>
          </c:cat>
          <c:val>
            <c:numRef>
              <c:f>Sheet1!$E$2:$E$8</c:f>
              <c:numCache>
                <c:formatCode>General</c:formatCode>
                <c:ptCount val="7"/>
                <c:pt idx="1">
                  <c:v>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82</c:v>
                </c:pt>
                <c:pt idx="5">
                  <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61"/>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0</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0</a:t>
                    </a:r>
                  </a:p>
                  <a:p>
                    <a:r>
                      <a:t>1.6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0</c:v>
                </c:pt>
                <c:pt idx="2">
                  <c:v/>
                </c:pt>
                <c:pt idx="3">
                  <c:v/>
                </c:pt>
                <c:pt idx="4">
                  <c:v/>
                </c:pt>
                <c:pt idx="5">
                  <c:v/>
                </c:pt>
                <c:pt idx="6">
                  <c:v/>
                </c:pt>
              </c:strCache>
            </c:strRef>
          </c:cat>
          <c:val>
            <c:numRef>
              <c:f>Sheet1!$C$2:$C$8</c:f>
              <c:numCache>
                <c:formatCode>General</c:formatCode>
                <c:ptCount val="7"/>
                <c:pt idx="1">
                  <c:v>1.6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0</c:v>
                </c:pt>
                <c:pt idx="2">
                  <c:v/>
                </c:pt>
                <c:pt idx="3">
                  <c:v/>
                </c:pt>
                <c:pt idx="4">
                  <c:v/>
                </c:pt>
                <c:pt idx="5">
                  <c:v/>
                </c:pt>
                <c:pt idx="6">
                  <c:v/>
                </c:pt>
              </c:strCache>
            </c:strRef>
          </c:cat>
          <c:val>
            <c:numRef>
              <c:f>Sheet1!$D$2:$D$8</c:f>
              <c:numCache>
                <c:formatCode>General</c:formatCode>
                <c:ptCount val="7"/>
                <c:pt idx="0">
                  <c:v>4.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0</c:v>
                </c:pt>
                <c:pt idx="2">
                  <c:v/>
                </c:pt>
                <c:pt idx="3">
                  <c:v/>
                </c:pt>
                <c:pt idx="4">
                  <c:v/>
                </c:pt>
                <c:pt idx="5">
                  <c:v/>
                </c:pt>
                <c:pt idx="6">
                  <c:v/>
                </c:pt>
              </c:strCache>
            </c:strRef>
          </c:cat>
          <c:val>
            <c:numRef>
              <c:f>Sheet1!$E$2:$E$8</c:f>
              <c:numCache>
                <c:formatCode>General</c:formatCode>
                <c:ptCount val="7"/>
                <c:pt idx="1">
                  <c:v>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0</c:v>
                </c:pt>
                <c:pt idx="2">
                  <c:v/>
                </c:pt>
                <c:pt idx="3">
                  <c:v/>
                </c:pt>
                <c:pt idx="4">
                  <c:v/>
                </c:pt>
                <c:pt idx="5">
                  <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61"/>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6</a:t>
                    </a:r>
                  </a:p>
                  <a:p>
                    <a:r>
                      <a:t>2.3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
                </c:pt>
                <c:pt idx="2">
                  <c:v/>
                </c:pt>
                <c:pt idx="3">
                  <c:v/>
                </c:pt>
                <c:pt idx="4">
                  <c:v/>
                </c:pt>
                <c:pt idx="5">
                  <c:v/>
                </c:pt>
                <c:pt idx="6">
                  <c:v/>
                </c:pt>
              </c:strCache>
            </c:strRef>
          </c:cat>
          <c:val>
            <c:numRef>
              <c:f>Sheet1!$C$2:$C$8</c:f>
              <c:numCache>
                <c:formatCode>General</c:formatCode>
                <c:ptCount val="7"/>
                <c:pt idx="0">
                  <c:v>2.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
                </c:pt>
                <c:pt idx="2">
                  <c:v/>
                </c:pt>
                <c:pt idx="3">
                  <c:v/>
                </c:pt>
                <c:pt idx="4">
                  <c:v/>
                </c:pt>
                <c:pt idx="5">
                  <c:v/>
                </c:pt>
                <c:pt idx="6">
                  <c:v/>
                </c:pt>
              </c:strCache>
            </c:strRef>
          </c:cat>
          <c:val>
            <c:numRef>
              <c:f>Sheet1!$D$2:$D$8</c:f>
              <c:numCache>
                <c:formatCode>General</c:formatCode>
                <c:ptCount val="7"/>
                <c:pt idx="0">
                  <c:v>4.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
                </c:pt>
                <c:pt idx="2">
                  <c:v/>
                </c:pt>
                <c:pt idx="3">
                  <c:v/>
                </c:pt>
                <c:pt idx="4">
                  <c:v/>
                </c:pt>
                <c:pt idx="5">
                  <c:v/>
                </c:pt>
                <c:pt idx="6">
                  <c:v/>
                </c:pt>
              </c:strCache>
            </c:strRef>
          </c:cat>
          <c:val>
            <c:numRef>
              <c:f>Sheet1!$E$2:$E$8</c:f>
              <c:numCache>
                <c:formatCode>General</c:formatCode>
                <c:ptCount val="7"/>
                <c:pt idx="1">
                  <c:v>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
                </c:pt>
                <c:pt idx="2">
                  <c:v/>
                </c:pt>
                <c:pt idx="3">
                  <c:v/>
                </c:pt>
                <c:pt idx="4">
                  <c:v/>
                </c:pt>
                <c:pt idx="5">
                  <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61"/>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0</a:t>
                    </a:r>
                  </a:p>
                  <a:p>
                    <a:r>
                      <a:t>0.51</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C$2:$C$8</c:f>
              <c:numCache>
                <c:formatCode>General</c:formatCode>
                <c:ptCount val="7"/>
                <c:pt idx="5">
                  <c:v>0.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D$2:$D$8</c:f>
              <c:numCache>
                <c:formatCode>General</c:formatCode>
                <c:ptCount val="7"/>
                <c:pt idx="0">
                  <c:v>4.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E$2:$E$8</c:f>
              <c:numCache>
                <c:formatCode>General</c:formatCode>
                <c:ptCount val="7"/>
                <c:pt idx="1">
                  <c:v>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61"/>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6</c:v>
                </c:pt>
                <c:pt idx="1">
                  <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6</a:t>
                    </a:r>
                  </a:p>
                  <a:p>
                    <a:r>
                      <a:t>1.0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6</c:v>
                </c:pt>
                <c:pt idx="1">
                  <c:v/>
                </c:pt>
                <c:pt idx="2">
                  <c:v/>
                </c:pt>
                <c:pt idx="3">
                  <c:v/>
                </c:pt>
                <c:pt idx="4">
                  <c:v/>
                </c:pt>
                <c:pt idx="5">
                  <c:v/>
                </c:pt>
                <c:pt idx="6">
                  <c:v/>
                </c:pt>
              </c:strCache>
            </c:strRef>
          </c:cat>
          <c:val>
            <c:numRef>
              <c:f>Sheet1!$C$2:$C$8</c:f>
              <c:numCache>
                <c:formatCode>General</c:formatCode>
                <c:ptCount val="7"/>
                <c:pt idx="0">
                  <c:v>1.0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6</c:v>
                </c:pt>
                <c:pt idx="1">
                  <c:v/>
                </c:pt>
                <c:pt idx="2">
                  <c:v/>
                </c:pt>
                <c:pt idx="3">
                  <c:v/>
                </c:pt>
                <c:pt idx="4">
                  <c:v/>
                </c:pt>
                <c:pt idx="5">
                  <c:v/>
                </c:pt>
                <c:pt idx="6">
                  <c:v/>
                </c:pt>
              </c:strCache>
            </c:strRef>
          </c:cat>
          <c:val>
            <c:numRef>
              <c:f>Sheet1!$D$2:$D$8</c:f>
              <c:numCache>
                <c:formatCode>General</c:formatCode>
                <c:ptCount val="7"/>
                <c:pt idx="0">
                  <c:v>4.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6</c:v>
                </c:pt>
                <c:pt idx="1">
                  <c:v/>
                </c:pt>
                <c:pt idx="2">
                  <c:v/>
                </c:pt>
                <c:pt idx="3">
                  <c:v/>
                </c:pt>
                <c:pt idx="4">
                  <c:v/>
                </c:pt>
                <c:pt idx="5">
                  <c:v/>
                </c:pt>
                <c:pt idx="6">
                  <c:v/>
                </c:pt>
              </c:strCache>
            </c:strRef>
          </c:cat>
          <c:val>
            <c:numRef>
              <c:f>Sheet1!$E$2:$E$8</c:f>
              <c:numCache>
                <c:formatCode>General</c:formatCode>
                <c:ptCount val="7"/>
                <c:pt idx="1">
                  <c:v>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6</c:v>
                </c:pt>
                <c:pt idx="1">
                  <c:v/>
                </c:pt>
                <c:pt idx="2">
                  <c:v/>
                </c:pt>
                <c:pt idx="3">
                  <c:v/>
                </c:pt>
                <c:pt idx="4">
                  <c:v/>
                </c:pt>
                <c:pt idx="5">
                  <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61"/>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0</c:v>
                </c:pt>
                <c:pt idx="1">
                  <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0</a:t>
                    </a:r>
                  </a:p>
                  <a:p>
                    <a:r>
                      <a:t>2.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0</c:v>
                </c:pt>
                <c:pt idx="1">
                  <c:v/>
                </c:pt>
                <c:pt idx="2">
                  <c:v/>
                </c:pt>
                <c:pt idx="3">
                  <c:v/>
                </c:pt>
                <c:pt idx="4">
                  <c:v/>
                </c:pt>
                <c:pt idx="5">
                  <c:v/>
                </c:pt>
                <c:pt idx="6">
                  <c:v/>
                </c:pt>
              </c:strCache>
            </c:strRef>
          </c:cat>
          <c:val>
            <c:numRef>
              <c:f>Sheet1!$C$2:$C$8</c:f>
              <c:numCache>
                <c:formatCode>General</c:formatCode>
                <c:ptCount val="7"/>
                <c:pt idx="0">
                  <c:v>2.0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0</c:v>
                </c:pt>
                <c:pt idx="1">
                  <c:v/>
                </c:pt>
                <c:pt idx="2">
                  <c:v/>
                </c:pt>
                <c:pt idx="3">
                  <c:v/>
                </c:pt>
                <c:pt idx="4">
                  <c:v/>
                </c:pt>
                <c:pt idx="5">
                  <c:v/>
                </c:pt>
                <c:pt idx="6">
                  <c:v/>
                </c:pt>
              </c:strCache>
            </c:strRef>
          </c:cat>
          <c:val>
            <c:numRef>
              <c:f>Sheet1!$D$2:$D$8</c:f>
              <c:numCache>
                <c:formatCode>General</c:formatCode>
                <c:ptCount val="7"/>
                <c:pt idx="0">
                  <c:v>4.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0</c:v>
                </c:pt>
                <c:pt idx="1">
                  <c:v/>
                </c:pt>
                <c:pt idx="2">
                  <c:v/>
                </c:pt>
                <c:pt idx="3">
                  <c:v/>
                </c:pt>
                <c:pt idx="4">
                  <c:v/>
                </c:pt>
                <c:pt idx="5">
                  <c:v/>
                </c:pt>
                <c:pt idx="6">
                  <c:v/>
                </c:pt>
              </c:strCache>
            </c:strRef>
          </c:cat>
          <c:val>
            <c:numRef>
              <c:f>Sheet1!$E$2:$E$8</c:f>
              <c:numCache>
                <c:formatCode>General</c:formatCode>
                <c:ptCount val="7"/>
                <c:pt idx="1">
                  <c:v>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0</c:v>
                </c:pt>
                <c:pt idx="1">
                  <c:v/>
                </c:pt>
                <c:pt idx="2">
                  <c:v/>
                </c:pt>
                <c:pt idx="3">
                  <c:v/>
                </c:pt>
                <c:pt idx="4">
                  <c:v/>
                </c:pt>
                <c:pt idx="5">
                  <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61"/>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6</c:v>
                </c:pt>
                <c:pt idx="1">
                  <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a:t>
                    </a:r>
                  </a:p>
                  <a:p>
                    <a:r>
                      <a:t>0.6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6</c:v>
                </c:pt>
                <c:pt idx="1">
                  <c:v/>
                </c:pt>
                <c:pt idx="2">
                  <c:v/>
                </c:pt>
                <c:pt idx="3">
                  <c:v/>
                </c:pt>
                <c:pt idx="4">
                  <c:v/>
                </c:pt>
                <c:pt idx="5">
                  <c:v/>
                </c:pt>
                <c:pt idx="6">
                  <c:v/>
                </c:pt>
              </c:strCache>
            </c:strRef>
          </c:cat>
          <c:val>
            <c:numRef>
              <c:f>Sheet1!$C$2:$C$8</c:f>
              <c:numCache>
                <c:formatCode>General</c:formatCode>
                <c:ptCount val="7"/>
                <c:pt idx="0">
                  <c:v>0.6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6</c:v>
                </c:pt>
                <c:pt idx="1">
                  <c:v/>
                </c:pt>
                <c:pt idx="2">
                  <c:v/>
                </c:pt>
                <c:pt idx="3">
                  <c:v/>
                </c:pt>
                <c:pt idx="4">
                  <c:v/>
                </c:pt>
                <c:pt idx="5">
                  <c:v/>
                </c:pt>
                <c:pt idx="6">
                  <c:v/>
                </c:pt>
              </c:strCache>
            </c:strRef>
          </c:cat>
          <c:val>
            <c:numRef>
              <c:f>Sheet1!$D$2:$D$8</c:f>
              <c:numCache>
                <c:formatCode>General</c:formatCode>
                <c:ptCount val="7"/>
                <c:pt idx="0">
                  <c:v>4.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6</c:v>
                </c:pt>
                <c:pt idx="1">
                  <c:v/>
                </c:pt>
                <c:pt idx="2">
                  <c:v/>
                </c:pt>
                <c:pt idx="3">
                  <c:v/>
                </c:pt>
                <c:pt idx="4">
                  <c:v/>
                </c:pt>
                <c:pt idx="5">
                  <c:v/>
                </c:pt>
                <c:pt idx="6">
                  <c:v/>
                </c:pt>
              </c:strCache>
            </c:strRef>
          </c:cat>
          <c:val>
            <c:numRef>
              <c:f>Sheet1!$E$2:$E$8</c:f>
              <c:numCache>
                <c:formatCode>General</c:formatCode>
                <c:ptCount val="7"/>
                <c:pt idx="1">
                  <c:v>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6</c:v>
                </c:pt>
                <c:pt idx="1">
                  <c:v/>
                </c:pt>
                <c:pt idx="2">
                  <c:v/>
                </c:pt>
                <c:pt idx="3">
                  <c:v/>
                </c:pt>
                <c:pt idx="4">
                  <c:v/>
                </c:pt>
                <c:pt idx="5">
                  <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61"/>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a:t>
                    </a:r>
                  </a:p>
                  <a:p>
                    <a:r>
                      <a:t>1.17</a:t>
                    </a:r>
                  </a:p>
                </c:rich>
              </c:tx>
              <c:dLblPos val="l"/>
              <c:showLegendKey val="0"/>
              <c:showVal val="1"/>
              <c:showCatName val="0"/>
              <c:showSerName val="0"/>
              <c:showPercent val="0"/>
              <c:showBubbleSize val="0"/>
            </c:dLbl>
            <c:dLbl>
              <c:idx val="1"/>
              <c:tx>
                <c:rich>
                  <a:bodyPr/>
                  <a:lstStyle/>
                  <a:p>
                    <a:r>
                      <a:t>IX 156</a:t>
                    </a:r>
                  </a:p>
                  <a:p>
                    <a:r>
                      <a:t>1.3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C$2:$C$3</c:f>
              <c:numCache>
                <c:formatCode>General</c:formatCode>
                <c:ptCount val="2"/>
                <c:pt idx="0">
                  <c:v>1.17</c:v>
                </c:pt>
                <c:pt idx="1">
                  <c:v>1.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37</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7</a:t>
                    </a:r>
                  </a:p>
                  <a:p>
                    <a:r>
                      <a:t>1.0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37</c:v>
                </c:pt>
                <c:pt idx="2">
                  <c:v/>
                </c:pt>
                <c:pt idx="3">
                  <c:v/>
                </c:pt>
                <c:pt idx="4">
                  <c:v/>
                </c:pt>
                <c:pt idx="5">
                  <c:v/>
                </c:pt>
                <c:pt idx="6">
                  <c:v/>
                </c:pt>
              </c:strCache>
            </c:strRef>
          </c:cat>
          <c:val>
            <c:numRef>
              <c:f>Sheet1!$C$2:$C$8</c:f>
              <c:numCache>
                <c:formatCode>General</c:formatCode>
                <c:ptCount val="7"/>
                <c:pt idx="1">
                  <c:v>1.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37</c:v>
                </c:pt>
                <c:pt idx="2">
                  <c:v/>
                </c:pt>
                <c:pt idx="3">
                  <c:v/>
                </c:pt>
                <c:pt idx="4">
                  <c:v/>
                </c:pt>
                <c:pt idx="5">
                  <c:v/>
                </c:pt>
                <c:pt idx="6">
                  <c:v/>
                </c:pt>
              </c:strCache>
            </c:strRef>
          </c:cat>
          <c:val>
            <c:numRef>
              <c:f>Sheet1!$D$2:$D$8</c:f>
              <c:numCache>
                <c:formatCode>General</c:formatCode>
                <c:ptCount val="7"/>
                <c:pt idx="0">
                  <c:v>4.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37</c:v>
                </c:pt>
                <c:pt idx="2">
                  <c:v/>
                </c:pt>
                <c:pt idx="3">
                  <c:v/>
                </c:pt>
                <c:pt idx="4">
                  <c:v/>
                </c:pt>
                <c:pt idx="5">
                  <c:v/>
                </c:pt>
                <c:pt idx="6">
                  <c:v/>
                </c:pt>
              </c:strCache>
            </c:strRef>
          </c:cat>
          <c:val>
            <c:numRef>
              <c:f>Sheet1!$E$2:$E$8</c:f>
              <c:numCache>
                <c:formatCode>General</c:formatCode>
                <c:ptCount val="7"/>
                <c:pt idx="1">
                  <c:v>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37</c:v>
                </c:pt>
                <c:pt idx="2">
                  <c:v/>
                </c:pt>
                <c:pt idx="3">
                  <c:v/>
                </c:pt>
                <c:pt idx="4">
                  <c:v/>
                </c:pt>
                <c:pt idx="5">
                  <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61"/>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IX 100</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3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0</a:t>
                    </a:r>
                  </a:p>
                  <a:p>
                    <a:r>
                      <a:t>1.0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IX 100</c:v>
                </c:pt>
              </c:strCache>
            </c:strRef>
          </c:cat>
          <c:val>
            <c:numRef>
              <c:f>Sheet1!$C$2:$C$7</c:f>
              <c:numCache>
                <c:formatCode>General</c:formatCode>
                <c:ptCount val="6"/>
                <c:pt idx="0">
                  <c:v>1.39</c:v>
                </c:pt>
                <c:pt idx="5">
                  <c:v>1.0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IX 100</c:v>
                </c:pt>
              </c:strCache>
            </c:strRef>
          </c:cat>
          <c:val>
            <c:numRef>
              <c:f>Sheet1!$D$2:$D$7</c:f>
              <c:numCache>
                <c:formatCode>General</c:formatCode>
                <c:ptCount val="6"/>
                <c:pt idx="4">
                  <c:v>2.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IX 100</c:v>
                </c:pt>
              </c:strCache>
            </c:strRef>
          </c:cat>
          <c:val>
            <c:numRef>
              <c:f>Sheet1!$E$2:$E$7</c:f>
              <c:numCache>
                <c:formatCode>General</c:formatCode>
                <c:ptCount val="6"/>
                <c:pt idx="3">
                  <c:v>0.2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IX 100</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C$2:$C$7</c:f>
              <c:numCache>
                <c:formatCode>General</c:formatCode>
                <c:ptCount val="6"/>
                <c:pt idx="2">
                  <c:v>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D$2:$D$7</c:f>
              <c:numCache>
                <c:formatCode>General</c:formatCode>
                <c:ptCount val="6"/>
                <c:pt idx="4">
                  <c:v>2.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E$2:$E$7</c:f>
              <c:numCache>
                <c:formatCode>General</c:formatCode>
                <c:ptCount val="6"/>
                <c:pt idx="3">
                  <c:v>0.2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61</c:v>
                </c:pt>
                <c:pt idx="2">
                  <c:v/>
                </c:pt>
                <c:pt idx="3">
                  <c:v/>
                </c:pt>
                <c:pt idx="4">
                  <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1</a:t>
                    </a:r>
                  </a:p>
                  <a:p>
                    <a:r>
                      <a:t>0.5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61</c:v>
                </c:pt>
                <c:pt idx="2">
                  <c:v/>
                </c:pt>
                <c:pt idx="3">
                  <c:v/>
                </c:pt>
                <c:pt idx="4">
                  <c:v/>
                </c:pt>
                <c:pt idx="5">
                  <c:v/>
                </c:pt>
              </c:strCache>
            </c:strRef>
          </c:cat>
          <c:val>
            <c:numRef>
              <c:f>Sheet1!$C$2:$C$7</c:f>
              <c:numCache>
                <c:formatCode>General</c:formatCode>
                <c:ptCount val="6"/>
                <c:pt idx="1">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61</c:v>
                </c:pt>
                <c:pt idx="2">
                  <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61</c:v>
                </c:pt>
                <c:pt idx="2">
                  <c:v/>
                </c:pt>
                <c:pt idx="3">
                  <c:v/>
                </c:pt>
                <c:pt idx="4">
                  <c:v/>
                </c:pt>
                <c:pt idx="5">
                  <c:v/>
                </c:pt>
              </c:strCache>
            </c:strRef>
          </c:cat>
          <c:val>
            <c:numRef>
              <c:f>Sheet1!$E$2:$E$7</c:f>
              <c:numCache>
                <c:formatCode>General</c:formatCode>
                <c:ptCount val="6"/>
                <c:pt idx="4">
                  <c:v>2.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61</c:v>
                </c:pt>
                <c:pt idx="2">
                  <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0</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0</a:t>
                    </a:r>
                  </a:p>
                  <a:p>
                    <a:r>
                      <a:t>2.33</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0</c:v>
                </c:pt>
                <c:pt idx="5">
                  <c:v/>
                </c:pt>
              </c:strCache>
            </c:strRef>
          </c:cat>
          <c:val>
            <c:numRef>
              <c:f>Sheet1!$C$2:$C$7</c:f>
              <c:numCache>
                <c:formatCode>General</c:formatCode>
                <c:ptCount val="6"/>
                <c:pt idx="4">
                  <c:v>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0</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0</c:v>
                </c:pt>
                <c:pt idx="5">
                  <c:v/>
                </c:pt>
              </c:strCache>
            </c:strRef>
          </c:cat>
          <c:val>
            <c:numRef>
              <c:f>Sheet1!$E$2:$E$7</c:f>
              <c:numCache>
                <c:formatCode>General</c:formatCode>
                <c:ptCount val="6"/>
                <c:pt idx="4">
                  <c:v>2.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0</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42</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2</a:t>
                    </a:r>
                  </a:p>
                  <a:p>
                    <a:r>
                      <a:t>0.89</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42</c:v>
                </c:pt>
                <c:pt idx="5">
                  <c:v/>
                </c:pt>
              </c:strCache>
            </c:strRef>
          </c:cat>
          <c:val>
            <c:numRef>
              <c:f>Sheet1!$C$2:$C$7</c:f>
              <c:numCache>
                <c:formatCode>General</c:formatCode>
                <c:ptCount val="6"/>
                <c:pt idx="4">
                  <c:v>0.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42</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42</c:v>
                </c:pt>
                <c:pt idx="5">
                  <c:v/>
                </c:pt>
              </c:strCache>
            </c:strRef>
          </c:cat>
          <c:val>
            <c:numRef>
              <c:f>Sheet1!$E$2:$E$7</c:f>
              <c:numCache>
                <c:formatCode>General</c:formatCode>
                <c:ptCount val="6"/>
                <c:pt idx="4">
                  <c:v>2.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42</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47</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7</a:t>
                    </a:r>
                  </a:p>
                  <a:p>
                    <a:r>
                      <a:t>1.0</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47</c:v>
                </c:pt>
                <c:pt idx="5">
                  <c:v/>
                </c:pt>
              </c:strCache>
            </c:strRef>
          </c:cat>
          <c:val>
            <c:numRef>
              <c:f>Sheet1!$C$2:$C$7</c:f>
              <c:numCache>
                <c:formatCode>General</c:formatCode>
                <c:ptCount val="6"/>
                <c:pt idx="4">
                  <c:v>1.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47</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47</c:v>
                </c:pt>
                <c:pt idx="5">
                  <c:v/>
                </c:pt>
              </c:strCache>
            </c:strRef>
          </c:cat>
          <c:val>
            <c:numRef>
              <c:f>Sheet1!$E$2:$E$7</c:f>
              <c:numCache>
                <c:formatCode>General</c:formatCode>
                <c:ptCount val="6"/>
                <c:pt idx="4">
                  <c:v>2.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47</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0</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C$2:$C$7</c:f>
              <c:numCache>
                <c:formatCode>General</c:formatCode>
                <c:ptCount val="6"/>
                <c:pt idx="2">
                  <c:v>1.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E$2:$E$7</c:f>
              <c:numCache>
                <c:formatCode>General</c:formatCode>
                <c:ptCount val="6"/>
                <c:pt idx="4">
                  <c:v>2.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8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C$2:$C$7</c:f>
              <c:numCache>
                <c:formatCode>General</c:formatCode>
                <c:ptCount val="6"/>
                <c:pt idx="2">
                  <c:v>1.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D$2:$D$7</c:f>
              <c:numCache>
                <c:formatCode>General</c:formatCode>
                <c:ptCount val="6"/>
                <c:pt idx="4">
                  <c:v>2.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E$2:$E$7</c:f>
              <c:numCache>
                <c:formatCode>General</c:formatCode>
                <c:ptCount val="6"/>
                <c:pt idx="3">
                  <c:v>0.2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0.8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C$2:$C$7</c:f>
              <c:numCache>
                <c:formatCode>General</c:formatCode>
                <c:ptCount val="6"/>
                <c:pt idx="0">
                  <c:v>0.8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E$2:$E$7</c:f>
              <c:numCache>
                <c:formatCode>General</c:formatCode>
                <c:ptCount val="6"/>
                <c:pt idx="1">
                  <c:v>0.8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4</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F$2:$F$7</c:f>
              <c:numCache>
                <c:formatCode>General</c:formatCode>
                <c:ptCount val="6"/>
                <c:pt idx="4">
                  <c:v>2.1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169</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6</a:t>
                    </a:r>
                  </a:p>
                </c:rich>
              </c:tx>
              <c:dLblPos val="l"/>
              <c:showLegendKey val="0"/>
              <c:showVal val="1"/>
              <c:showCatName val="0"/>
              <c:showSerName val="0"/>
              <c:showPercent val="0"/>
              <c:showBubbleSize val="0"/>
            </c:dLbl>
            <c:dLbl>
              <c:idx val="1"/>
              <c:tx>
                <c:rich>
                  <a:bodyPr/>
                  <a:lstStyle/>
                  <a:p>
                    <a:r>
                      <a:t>IX 169</a:t>
                    </a:r>
                  </a:p>
                  <a:p>
                    <a:r>
                      <a:t>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169</c:v>
                </c:pt>
              </c:strCache>
            </c:strRef>
          </c:cat>
          <c:val>
            <c:numRef>
              <c:f>Sheet1!$C$2:$C$3</c:f>
              <c:numCache>
                <c:formatCode>General</c:formatCode>
                <c:ptCount val="2"/>
                <c:pt idx="0">
                  <c:v>2.6</c:v>
                </c:pt>
                <c:pt idx="1">
                  <c:v>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169</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169</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169</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21</c:v>
                </c:pt>
                <c:pt idx="2">
                  <c:v/>
                </c:pt>
                <c:pt idx="3">
                  <c:v/>
                </c:pt>
                <c:pt idx="4">
                  <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21</c:v>
                </c:pt>
                <c:pt idx="2">
                  <c:v/>
                </c:pt>
                <c:pt idx="3">
                  <c:v/>
                </c:pt>
                <c:pt idx="4">
                  <c:v/>
                </c:pt>
                <c:pt idx="5">
                  <c:v/>
                </c:pt>
              </c:strCache>
            </c:strRef>
          </c:cat>
          <c:val>
            <c:numRef>
              <c:f>Sheet1!$C$2:$C$7</c:f>
              <c:numCache>
                <c:formatCode>General</c:formatCode>
                <c:ptCount val="6"/>
                <c:pt idx="1">
                  <c:v>0.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21</c:v>
                </c:pt>
                <c:pt idx="2">
                  <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21</c:v>
                </c:pt>
                <c:pt idx="2">
                  <c:v/>
                </c:pt>
                <c:pt idx="3">
                  <c:v/>
                </c:pt>
                <c:pt idx="4">
                  <c:v/>
                </c:pt>
                <c:pt idx="5">
                  <c:v/>
                </c:pt>
              </c:strCache>
            </c:strRef>
          </c:cat>
          <c:val>
            <c:numRef>
              <c:f>Sheet1!$E$2:$E$7</c:f>
              <c:numCache>
                <c:formatCode>General</c:formatCode>
                <c:ptCount val="6"/>
                <c:pt idx="4">
                  <c:v>2.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21</c:v>
                </c:pt>
                <c:pt idx="2">
                  <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31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C$2:$C$7</c:f>
              <c:numCache>
                <c:formatCode>General</c:formatCode>
                <c:ptCount val="6"/>
                <c:pt idx="0">
                  <c:v>1.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E$2:$E$7</c:f>
              <c:numCache>
                <c:formatCode>General</c:formatCode>
                <c:ptCount val="6"/>
                <c:pt idx="1">
                  <c:v>0.8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4</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F$2:$F$7</c:f>
              <c:numCache>
                <c:formatCode>General</c:formatCode>
                <c:ptCount val="6"/>
                <c:pt idx="4">
                  <c:v>2.1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37</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37</a:t>
                    </a:r>
                  </a:p>
                  <a:p>
                    <a:r>
                      <a:t>0.7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37</c:v>
                </c:pt>
                <c:pt idx="5">
                  <c:v/>
                </c:pt>
              </c:strCache>
            </c:strRef>
          </c:cat>
          <c:val>
            <c:numRef>
              <c:f>Sheet1!$C$2:$C$7</c:f>
              <c:numCache>
                <c:formatCode>General</c:formatCode>
                <c:ptCount val="6"/>
                <c:pt idx="4">
                  <c:v>0.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37</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37</c:v>
                </c:pt>
                <c:pt idx="5">
                  <c:v/>
                </c:pt>
              </c:strCache>
            </c:strRef>
          </c:cat>
          <c:val>
            <c:numRef>
              <c:f>Sheet1!$E$2:$E$7</c:f>
              <c:numCache>
                <c:formatCode>General</c:formatCode>
                <c:ptCount val="6"/>
                <c:pt idx="4">
                  <c:v>2.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37</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39</c:v>
                </c:pt>
                <c:pt idx="2">
                  <c:v/>
                </c:pt>
                <c:pt idx="3">
                  <c:v/>
                </c:pt>
                <c:pt idx="4">
                  <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9</a:t>
                    </a:r>
                  </a:p>
                  <a:p>
                    <a:r>
                      <a:t>0.3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39</c:v>
                </c:pt>
                <c:pt idx="2">
                  <c:v/>
                </c:pt>
                <c:pt idx="3">
                  <c:v/>
                </c:pt>
                <c:pt idx="4">
                  <c:v/>
                </c:pt>
                <c:pt idx="5">
                  <c:v/>
                </c:pt>
              </c:strCache>
            </c:strRef>
          </c:cat>
          <c:val>
            <c:numRef>
              <c:f>Sheet1!$C$2:$C$7</c:f>
              <c:numCache>
                <c:formatCode>General</c:formatCode>
                <c:ptCount val="6"/>
                <c:pt idx="1">
                  <c:v>0.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39</c:v>
                </c:pt>
                <c:pt idx="2">
                  <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39</c:v>
                </c:pt>
                <c:pt idx="2">
                  <c:v/>
                </c:pt>
                <c:pt idx="3">
                  <c:v/>
                </c:pt>
                <c:pt idx="4">
                  <c:v/>
                </c:pt>
                <c:pt idx="5">
                  <c:v/>
                </c:pt>
              </c:strCache>
            </c:strRef>
          </c:cat>
          <c:val>
            <c:numRef>
              <c:f>Sheet1!$E$2:$E$7</c:f>
              <c:numCache>
                <c:formatCode>General</c:formatCode>
                <c:ptCount val="6"/>
                <c:pt idx="4">
                  <c:v>2.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39</c:v>
                </c:pt>
                <c:pt idx="2">
                  <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61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7</c:v>
                </c:pt>
                <c:pt idx="2">
                  <c:v>IX 54</c:v>
                </c:pt>
                <c:pt idx="3">
                  <c:v/>
                </c:pt>
                <c:pt idx="4">
                  <c:v>IX 24</c:v>
                </c:pt>
                <c:pt idx="5">
                  <c:v>IX 100</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3.57</a:t>
                    </a:r>
                  </a:p>
                </c:rich>
              </c:tx>
              <c:dLblPos val="l"/>
              <c:showLegendKey val="0"/>
              <c:showVal val="1"/>
              <c:showCatName val="0"/>
              <c:showSerName val="0"/>
              <c:showPercent val="0"/>
              <c:showBubbleSize val="0"/>
            </c:dLbl>
            <c:dLbl>
              <c:idx val="1"/>
              <c:tx>
                <c:rich>
                  <a:bodyPr/>
                  <a:lstStyle/>
                  <a:p>
                    <a:r>
                      <a:t>IX 67</a:t>
                    </a:r>
                  </a:p>
                  <a:p>
                    <a:r>
                      <a:t>3.09</a:t>
                    </a:r>
                  </a:p>
                </c:rich>
              </c:tx>
              <c:dLblPos val="l"/>
              <c:showLegendKey val="0"/>
              <c:showVal val="1"/>
              <c:showCatName val="0"/>
              <c:showSerName val="0"/>
              <c:showPercent val="0"/>
              <c:showBubbleSize val="0"/>
            </c:dLbl>
            <c:dLbl>
              <c:idx val="2"/>
              <c:tx>
                <c:rich>
                  <a:bodyPr/>
                  <a:lstStyle/>
                  <a:p>
                    <a:r>
                      <a:t>IX 54</a:t>
                    </a:r>
                  </a:p>
                  <a:p>
                    <a:r>
                      <a:t>3.6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24</a:t>
                    </a:r>
                  </a:p>
                  <a:p>
                    <a:r>
                      <a:t>7.96</a:t>
                    </a:r>
                  </a:p>
                </c:rich>
              </c:tx>
              <c:dLblPos val="l"/>
              <c:showLegendKey val="0"/>
              <c:showVal val="1"/>
              <c:showCatName val="0"/>
              <c:showSerName val="0"/>
              <c:showPercent val="0"/>
              <c:showBubbleSize val="0"/>
            </c:dLbl>
            <c:dLbl>
              <c:idx val="5"/>
              <c:tx>
                <c:rich>
                  <a:bodyPr/>
                  <a:lstStyle/>
                  <a:p>
                    <a:r>
                      <a:t>IX 100</a:t>
                    </a:r>
                  </a:p>
                  <a:p>
                    <a:r>
                      <a:t>2.69</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7</c:v>
                </c:pt>
                <c:pt idx="2">
                  <c:v>IX 54</c:v>
                </c:pt>
                <c:pt idx="3">
                  <c:v/>
                </c:pt>
                <c:pt idx="4">
                  <c:v>IX 24</c:v>
                </c:pt>
                <c:pt idx="5">
                  <c:v>IX 100</c:v>
                </c:pt>
                <c:pt idx="6">
                  <c:v/>
                </c:pt>
              </c:strCache>
            </c:strRef>
          </c:cat>
          <c:val>
            <c:numRef>
              <c:f>Sheet1!$C$2:$C$8</c:f>
              <c:numCache>
                <c:formatCode>General</c:formatCode>
                <c:ptCount val="7"/>
                <c:pt idx="0">
                  <c:v>3.57</c:v>
                </c:pt>
                <c:pt idx="1">
                  <c:v>3.09</c:v>
                </c:pt>
                <c:pt idx="2">
                  <c:v>3.66</c:v>
                </c:pt>
                <c:pt idx="4">
                  <c:v>7.96</c:v>
                </c:pt>
                <c:pt idx="5">
                  <c:v>2.6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7</c:v>
                </c:pt>
                <c:pt idx="2">
                  <c:v>IX 54</c:v>
                </c:pt>
                <c:pt idx="3">
                  <c:v/>
                </c:pt>
                <c:pt idx="4">
                  <c:v>IX 24</c:v>
                </c:pt>
                <c:pt idx="5">
                  <c:v>IX 100</c:v>
                </c:pt>
                <c:pt idx="6">
                  <c:v/>
                </c:pt>
              </c:strCache>
            </c:strRef>
          </c:cat>
          <c:val>
            <c:numRef>
              <c:f>Sheet1!$D$2:$D$8</c:f>
              <c:numCache>
                <c:formatCode>General</c:formatCode>
                <c:ptCount val="7"/>
                <c:pt idx="0">
                  <c:v>6.41</c:v>
                </c:pt>
                <c:pt idx="1">
                  <c:v>4.64</c:v>
                </c:pt>
                <c:pt idx="2">
                  <c:v>6.84</c:v>
                </c:pt>
                <c:pt idx="4">
                  <c:v>33.23</c:v>
                </c:pt>
                <c:pt idx="6">
                  <c:v>7.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7</c:v>
                </c:pt>
                <c:pt idx="2">
                  <c:v>IX 54</c:v>
                </c:pt>
                <c:pt idx="3">
                  <c:v/>
                </c:pt>
                <c:pt idx="4">
                  <c:v>IX 24</c:v>
                </c:pt>
                <c:pt idx="5">
                  <c:v>IX 100</c:v>
                </c:pt>
                <c:pt idx="6">
                  <c:v/>
                </c:pt>
              </c:strCache>
            </c:strRef>
          </c:cat>
          <c:val>
            <c:numRef>
              <c:f>Sheet1!$E$2:$E$8</c:f>
              <c:numCache>
                <c:formatCode>General</c:formatCode>
                <c:ptCount val="7"/>
                <c:pt idx="0">
                  <c:v>4.4</c:v>
                </c:pt>
                <c:pt idx="4">
                  <c:v>3.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7</c:v>
                </c:pt>
                <c:pt idx="2">
                  <c:v>IX 54</c:v>
                </c:pt>
                <c:pt idx="3">
                  <c:v/>
                </c:pt>
                <c:pt idx="4">
                  <c:v>IX 24</c:v>
                </c:pt>
                <c:pt idx="5">
                  <c:v>IX 100</c:v>
                </c:pt>
                <c:pt idx="6">
                  <c:v/>
                </c:pt>
              </c:strCache>
            </c:strRef>
          </c:cat>
          <c:val>
            <c:numRef>
              <c:f>Sheet1!$F$2:$F$8</c:f>
              <c:numCache>
                <c:formatCode>General</c:formatCode>
                <c:ptCount val="7"/>
                <c:pt idx="2">
                  <c:v>3.41</c:v>
                </c:pt>
                <c:pt idx="3">
                  <c:v>4.75</c:v>
                </c:pt>
                <c:pt idx="4">
                  <c:v>5.22</c:v>
                </c:pt>
                <c:pt idx="5">
                  <c:v>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732"/>
          <c:min val="2.18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2</c:v>
                </c:pt>
                <c:pt idx="1">
                  <c:v>IX 81</c:v>
                </c:pt>
                <c:pt idx="2">
                  <c:v>IX 12</c:v>
                </c:pt>
                <c:pt idx="3">
                  <c:v/>
                </c:pt>
                <c:pt idx="4">
                  <c:v>IX 100</c:v>
                </c:pt>
                <c:pt idx="5">
                  <c:v/>
                </c:pt>
                <c:pt idx="6">
                  <c:v>IX 100</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2</a:t>
                    </a:r>
                  </a:p>
                  <a:p>
                    <a:r>
                      <a:t>2.54</a:t>
                    </a:r>
                  </a:p>
                </c:rich>
              </c:tx>
              <c:dLblPos val="l"/>
              <c:showLegendKey val="0"/>
              <c:showVal val="1"/>
              <c:showCatName val="0"/>
              <c:showSerName val="0"/>
              <c:showPercent val="0"/>
              <c:showBubbleSize val="0"/>
            </c:dLbl>
            <c:dLbl>
              <c:idx val="1"/>
              <c:tx>
                <c:rich>
                  <a:bodyPr/>
                  <a:lstStyle/>
                  <a:p>
                    <a:r>
                      <a:t>IX 81</a:t>
                    </a:r>
                  </a:p>
                  <a:p>
                    <a:r>
                      <a:t>2.18</a:t>
                    </a:r>
                  </a:p>
                </c:rich>
              </c:tx>
              <c:dLblPos val="l"/>
              <c:showLegendKey val="0"/>
              <c:showVal val="1"/>
              <c:showCatName val="0"/>
              <c:showSerName val="0"/>
              <c:showPercent val="0"/>
              <c:showBubbleSize val="0"/>
            </c:dLbl>
            <c:dLbl>
              <c:idx val="2"/>
              <c:tx>
                <c:rich>
                  <a:bodyPr/>
                  <a:lstStyle/>
                  <a:p>
                    <a:r>
                      <a:t>IX 12</a:t>
                    </a:r>
                  </a:p>
                  <a:p>
                    <a:r>
                      <a:t>0.3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7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1.25</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2</c:v>
                </c:pt>
                <c:pt idx="1">
                  <c:v>IX 81</c:v>
                </c:pt>
                <c:pt idx="2">
                  <c:v>IX 12</c:v>
                </c:pt>
                <c:pt idx="3">
                  <c:v/>
                </c:pt>
                <c:pt idx="4">
                  <c:v>IX 100</c:v>
                </c:pt>
                <c:pt idx="5">
                  <c:v/>
                </c:pt>
                <c:pt idx="6">
                  <c:v>IX 100</c:v>
                </c:pt>
              </c:strCache>
            </c:strRef>
          </c:cat>
          <c:val>
            <c:numRef>
              <c:f>Sheet1!$C$2:$C$8</c:f>
              <c:numCache>
                <c:formatCode>General</c:formatCode>
                <c:ptCount val="7"/>
                <c:pt idx="0">
                  <c:v>2.54</c:v>
                </c:pt>
                <c:pt idx="1">
                  <c:v>2.18</c:v>
                </c:pt>
                <c:pt idx="2">
                  <c:v>0.38</c:v>
                </c:pt>
                <c:pt idx="4">
                  <c:v>1.78</c:v>
                </c:pt>
                <c:pt idx="6">
                  <c:v>1.2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2</c:v>
                </c:pt>
                <c:pt idx="1">
                  <c:v>IX 81</c:v>
                </c:pt>
                <c:pt idx="2">
                  <c:v>IX 12</c:v>
                </c:pt>
                <c:pt idx="3">
                  <c:v/>
                </c:pt>
                <c:pt idx="4">
                  <c:v>IX 100</c:v>
                </c:pt>
                <c:pt idx="5">
                  <c:v/>
                </c:pt>
                <c:pt idx="6">
                  <c:v>IX 100</c:v>
                </c:pt>
              </c:strCache>
            </c:strRef>
          </c:cat>
          <c:val>
            <c:numRef>
              <c:f>Sheet1!$D$2:$D$8</c:f>
              <c:numCache>
                <c:formatCode>General</c:formatCode>
                <c:ptCount val="7"/>
                <c:pt idx="0">
                  <c:v>4.11</c:v>
                </c:pt>
                <c:pt idx="1">
                  <c:v>2.7</c:v>
                </c:pt>
                <c:pt idx="2">
                  <c:v>3.26</c:v>
                </c:pt>
                <c:pt idx="4">
                  <c:v>3.0</c:v>
                </c:pt>
                <c:pt idx="5">
                  <c:v>1.19</c:v>
                </c:pt>
                <c:pt idx="6">
                  <c:v>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2</c:v>
                </c:pt>
                <c:pt idx="1">
                  <c:v>IX 81</c:v>
                </c:pt>
                <c:pt idx="2">
                  <c:v>IX 12</c:v>
                </c:pt>
                <c:pt idx="3">
                  <c:v/>
                </c:pt>
                <c:pt idx="4">
                  <c:v>IX 100</c:v>
                </c:pt>
                <c:pt idx="5">
                  <c:v/>
                </c:pt>
                <c:pt idx="6">
                  <c:v>IX 100</c:v>
                </c:pt>
              </c:strCache>
            </c:strRef>
          </c:cat>
          <c:val>
            <c:numRef>
              <c:f>Sheet1!$E$2:$E$8</c:f>
              <c:numCache>
                <c:formatCode>General</c:formatCode>
                <c:ptCount val="7"/>
                <c:pt idx="0">
                  <c:v>2.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2</c:v>
                </c:pt>
                <c:pt idx="1">
                  <c:v>IX 81</c:v>
                </c:pt>
                <c:pt idx="2">
                  <c:v>IX 12</c:v>
                </c:pt>
                <c:pt idx="3">
                  <c:v/>
                </c:pt>
                <c:pt idx="4">
                  <c:v>IX 100</c:v>
                </c:pt>
                <c:pt idx="5">
                  <c:v/>
                </c:pt>
                <c:pt idx="6">
                  <c:v>IX 100</c:v>
                </c:pt>
              </c:strCache>
            </c:strRef>
          </c:cat>
          <c:val>
            <c:numRef>
              <c:f>Sheet1!$F$2:$F$8</c:f>
              <c:numCache>
                <c:formatCode>General</c:formatCode>
                <c:ptCount val="7"/>
                <c:pt idx="3">
                  <c:v>2.3</c:v>
                </c:pt>
                <c:pt idx="4">
                  <c:v>2.18</c:v>
                </c:pt>
                <c:pt idx="6">
                  <c:v>0.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121"/>
          <c:min val="-0.12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9</c:v>
                </c:pt>
                <c:pt idx="1">
                  <c:v>IX 65</c:v>
                </c:pt>
                <c:pt idx="2">
                  <c:v>IX 113</c:v>
                </c:pt>
                <c:pt idx="3">
                  <c:v>IX 120</c:v>
                </c:pt>
                <c:pt idx="4">
                  <c:v/>
                </c:pt>
                <c:pt idx="5">
                  <c:v>IX 80</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9</a:t>
                    </a:r>
                  </a:p>
                  <a:p>
                    <a:r>
                      <a:t>1.42</a:t>
                    </a:r>
                  </a:p>
                </c:rich>
              </c:tx>
              <c:dLblPos val="l"/>
              <c:showLegendKey val="0"/>
              <c:showVal val="1"/>
              <c:showCatName val="0"/>
              <c:showSerName val="0"/>
              <c:showPercent val="0"/>
              <c:showBubbleSize val="0"/>
            </c:dLbl>
            <c:dLbl>
              <c:idx val="1"/>
              <c:tx>
                <c:rich>
                  <a:bodyPr/>
                  <a:lstStyle/>
                  <a:p>
                    <a:r>
                      <a:t>IX 65</a:t>
                    </a:r>
                  </a:p>
                  <a:p>
                    <a:r>
                      <a:t>0.6</a:t>
                    </a:r>
                  </a:p>
                </c:rich>
              </c:tx>
              <c:dLblPos val="l"/>
              <c:showLegendKey val="0"/>
              <c:showVal val="1"/>
              <c:showCatName val="0"/>
              <c:showSerName val="0"/>
              <c:showPercent val="0"/>
              <c:showBubbleSize val="0"/>
            </c:dLbl>
            <c:dLbl>
              <c:idx val="2"/>
              <c:tx>
                <c:rich>
                  <a:bodyPr/>
                  <a:lstStyle/>
                  <a:p>
                    <a:r>
                      <a:t>IX 113</a:t>
                    </a:r>
                  </a:p>
                  <a:p>
                    <a:r>
                      <a:t>3.64</a:t>
                    </a:r>
                  </a:p>
                </c:rich>
              </c:tx>
              <c:dLblPos val="l"/>
              <c:showLegendKey val="0"/>
              <c:showVal val="1"/>
              <c:showCatName val="0"/>
              <c:showSerName val="0"/>
              <c:showPercent val="0"/>
              <c:showBubbleSize val="0"/>
            </c:dLbl>
            <c:dLbl>
              <c:idx val="3"/>
              <c:tx>
                <c:rich>
                  <a:bodyPr/>
                  <a:lstStyle/>
                  <a:p>
                    <a:r>
                      <a:t>IX 120</a:t>
                    </a:r>
                  </a:p>
                  <a:p>
                    <a:r>
                      <a:t>2.8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80</a:t>
                    </a:r>
                  </a:p>
                  <a:p>
                    <a:r>
                      <a:t>1.58</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9</c:v>
                </c:pt>
                <c:pt idx="1">
                  <c:v>IX 65</c:v>
                </c:pt>
                <c:pt idx="2">
                  <c:v>IX 113</c:v>
                </c:pt>
                <c:pt idx="3">
                  <c:v>IX 120</c:v>
                </c:pt>
                <c:pt idx="4">
                  <c:v/>
                </c:pt>
                <c:pt idx="5">
                  <c:v>IX 80</c:v>
                </c:pt>
                <c:pt idx="6">
                  <c:v/>
                </c:pt>
              </c:strCache>
            </c:strRef>
          </c:cat>
          <c:val>
            <c:numRef>
              <c:f>Sheet1!$C$2:$C$8</c:f>
              <c:numCache>
                <c:formatCode>General</c:formatCode>
                <c:ptCount val="7"/>
                <c:pt idx="0">
                  <c:v>1.42</c:v>
                </c:pt>
                <c:pt idx="1">
                  <c:v>0.6</c:v>
                </c:pt>
                <c:pt idx="2">
                  <c:v>3.64</c:v>
                </c:pt>
                <c:pt idx="3">
                  <c:v>2.87</c:v>
                </c:pt>
                <c:pt idx="5">
                  <c:v>1.5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9</c:v>
                </c:pt>
                <c:pt idx="1">
                  <c:v>IX 65</c:v>
                </c:pt>
                <c:pt idx="2">
                  <c:v>IX 113</c:v>
                </c:pt>
                <c:pt idx="3">
                  <c:v>IX 120</c:v>
                </c:pt>
                <c:pt idx="4">
                  <c:v/>
                </c:pt>
                <c:pt idx="5">
                  <c:v>IX 80</c:v>
                </c:pt>
                <c:pt idx="6">
                  <c:v/>
                </c:pt>
              </c:strCache>
            </c:strRef>
          </c:cat>
          <c:val>
            <c:numRef>
              <c:f>Sheet1!$D$2:$D$8</c:f>
              <c:numCache>
                <c:formatCode>General</c:formatCode>
                <c:ptCount val="7"/>
                <c:pt idx="0">
                  <c:v>1.79</c:v>
                </c:pt>
                <c:pt idx="1">
                  <c:v>0.92</c:v>
                </c:pt>
                <c:pt idx="2">
                  <c:v>5.64</c:v>
                </c:pt>
                <c:pt idx="4">
                  <c:v>0.84</c:v>
                </c:pt>
                <c:pt idx="5">
                  <c:v>1.9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9</c:v>
                </c:pt>
                <c:pt idx="1">
                  <c:v>IX 65</c:v>
                </c:pt>
                <c:pt idx="2">
                  <c:v>IX 113</c:v>
                </c:pt>
                <c:pt idx="3">
                  <c:v>IX 120</c:v>
                </c:pt>
                <c:pt idx="4">
                  <c:v/>
                </c:pt>
                <c:pt idx="5">
                  <c:v>IX 80</c:v>
                </c:pt>
                <c:pt idx="6">
                  <c:v/>
                </c:pt>
              </c:strCache>
            </c:strRef>
          </c:cat>
          <c:val>
            <c:numRef>
              <c:f>Sheet1!$E$2:$E$8</c:f>
              <c:numCache>
                <c:formatCode>General</c:formatCode>
                <c:ptCount val="7"/>
                <c:pt idx="0">
                  <c:v>1.29</c:v>
                </c:pt>
                <c:pt idx="1">
                  <c:v>0.52</c:v>
                </c:pt>
                <c:pt idx="2">
                  <c:v>3.23</c:v>
                </c:pt>
                <c:pt idx="3">
                  <c:v>2.39</c:v>
                </c:pt>
                <c:pt idx="4">
                  <c:v>0.3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9</c:v>
                </c:pt>
                <c:pt idx="1">
                  <c:v>IX 65</c:v>
                </c:pt>
                <c:pt idx="2">
                  <c:v>IX 113</c:v>
                </c:pt>
                <c:pt idx="3">
                  <c:v>IX 120</c:v>
                </c:pt>
                <c:pt idx="4">
                  <c:v/>
                </c:pt>
                <c:pt idx="5">
                  <c:v>IX 80</c:v>
                </c:pt>
                <c:pt idx="6">
                  <c:v/>
                </c:pt>
              </c:strCache>
            </c:strRef>
          </c:cat>
          <c:val>
            <c:numRef>
              <c:f>Sheet1!$F$2:$F$8</c:f>
              <c:numCache>
                <c:formatCode>General</c:formatCode>
                <c:ptCount val="7"/>
                <c:pt idx="0">
                  <c:v>1.0</c:v>
                </c:pt>
                <c:pt idx="1">
                  <c:v>0.23</c:v>
                </c:pt>
                <c:pt idx="2">
                  <c:v>1.94</c:v>
                </c:pt>
                <c:pt idx="3">
                  <c:v>1.7</c:v>
                </c:pt>
                <c:pt idx="4">
                  <c:v>0.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386"/>
          <c:min val="-0.296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B$2:$B$5</c:f>
              <c:numCache>
                <c:formatCode>General</c:formatCode>
                <c:ptCount val="4"/>
                <c:pt idx="0">
                  <c:v>3.49</c:v>
                </c:pt>
                <c:pt idx="1">
                  <c:v>1.53</c:v>
                </c:pt>
                <c:pt idx="2">
                  <c:v>2.86</c:v>
                </c:pt>
                <c:pt idx="3">
                  <c:v>1.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2.8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C$2:$C$5</c:f>
              <c:numCache>
                <c:formatCode>General</c:formatCode>
                <c:ptCount val="4"/>
                <c:pt idx="2">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D$2:$D$5</c:f>
              <c:numCache>
                <c:formatCode>General</c:formatCode>
                <c:ptCount val="4"/>
                <c:pt idx="0">
                  <c:v>3.71</c:v>
                </c:pt>
                <c:pt idx="1">
                  <c:v>0.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E$2:$E$5</c:f>
              <c:numCache>
                <c:formatCode>General</c:formatCode>
                <c:ptCount val="4"/>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F$2:$F$5</c:f>
              <c:numCache>
                <c:formatCode>General</c:formatCode>
                <c:ptCount val="4"/>
                <c:pt idx="3">
                  <c:v>1.6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5"/>
          <c:min val="-0.0583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0.64</c:v>
                </c:pt>
                <c:pt idx="1">
                  <c:v>1.01</c:v>
                </c:pt>
                <c:pt idx="2">
                  <c:v>2.15</c:v>
                </c:pt>
                <c:pt idx="3">
                  <c:v>0.06</c:v>
                </c:pt>
                <c:pt idx="4">
                  <c:v>0.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0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0.64</c:v>
                </c:pt>
                <c:pt idx="1">
                  <c:v>1.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0">
                  <c:v>0.3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pt idx="1">
                  <c:v>0.76</c:v>
                </c:pt>
                <c:pt idx="2">
                  <c:v>2.15</c:v>
                </c:pt>
                <c:pt idx="3">
                  <c:v>0.06</c:v>
                </c:pt>
                <c:pt idx="4">
                  <c:v>0.6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03"/>
          <c:min val="-0.44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3</c:v>
                </c:pt>
                <c:pt idx="2">
                  <c:v/>
                </c:pt>
                <c:pt idx="3">
                  <c:v/>
                </c:pt>
                <c:pt idx="4">
                  <c:v>IX 11</c:v>
                </c:pt>
                <c:pt idx="5">
                  <c:v/>
                </c:pt>
                <c:pt idx="6">
                  <c:v>IX 64</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3.36</a:t>
                    </a:r>
                  </a:p>
                </c:rich>
              </c:tx>
              <c:dLblPos val="l"/>
              <c:showLegendKey val="0"/>
              <c:showVal val="1"/>
              <c:showCatName val="0"/>
              <c:showSerName val="0"/>
              <c:showPercent val="0"/>
              <c:showBubbleSize val="0"/>
            </c:dLbl>
            <c:dLbl>
              <c:idx val="1"/>
              <c:tx>
                <c:rich>
                  <a:bodyPr/>
                  <a:lstStyle/>
                  <a:p>
                    <a:r>
                      <a:t>IX 63</a:t>
                    </a:r>
                  </a:p>
                  <a:p>
                    <a:r>
                      <a:t>2.4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a:t>
                    </a:r>
                  </a:p>
                  <a:p>
                    <a:r>
                      <a:t>3.1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64</a:t>
                    </a:r>
                  </a:p>
                  <a:p>
                    <a:r>
                      <a:t>1.88</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3</c:v>
                </c:pt>
                <c:pt idx="2">
                  <c:v/>
                </c:pt>
                <c:pt idx="3">
                  <c:v/>
                </c:pt>
                <c:pt idx="4">
                  <c:v>IX 11</c:v>
                </c:pt>
                <c:pt idx="5">
                  <c:v/>
                </c:pt>
                <c:pt idx="6">
                  <c:v>IX 64</c:v>
                </c:pt>
              </c:strCache>
            </c:strRef>
          </c:cat>
          <c:val>
            <c:numRef>
              <c:f>Sheet1!$C$2:$C$8</c:f>
              <c:numCache>
                <c:formatCode>General</c:formatCode>
                <c:ptCount val="7"/>
                <c:pt idx="0">
                  <c:v>3.36</c:v>
                </c:pt>
                <c:pt idx="1">
                  <c:v>2.49</c:v>
                </c:pt>
                <c:pt idx="4">
                  <c:v>3.15</c:v>
                </c:pt>
                <c:pt idx="6">
                  <c:v>1.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3</c:v>
                </c:pt>
                <c:pt idx="2">
                  <c:v/>
                </c:pt>
                <c:pt idx="3">
                  <c:v/>
                </c:pt>
                <c:pt idx="4">
                  <c:v>IX 11</c:v>
                </c:pt>
                <c:pt idx="5">
                  <c:v/>
                </c:pt>
                <c:pt idx="6">
                  <c:v>IX 64</c:v>
                </c:pt>
              </c:strCache>
            </c:strRef>
          </c:cat>
          <c:val>
            <c:numRef>
              <c:f>Sheet1!$D$2:$D$8</c:f>
              <c:numCache>
                <c:formatCode>General</c:formatCode>
                <c:ptCount val="7"/>
                <c:pt idx="0">
                  <c:v>5.96</c:v>
                </c:pt>
                <c:pt idx="1">
                  <c:v>3.95</c:v>
                </c:pt>
                <c:pt idx="3">
                  <c:v>6.53</c:v>
                </c:pt>
                <c:pt idx="4">
                  <c:v>29.81</c:v>
                </c:pt>
                <c:pt idx="5">
                  <c:v>4.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3</c:v>
                </c:pt>
                <c:pt idx="2">
                  <c:v/>
                </c:pt>
                <c:pt idx="3">
                  <c:v/>
                </c:pt>
                <c:pt idx="4">
                  <c:v>IX 11</c:v>
                </c:pt>
                <c:pt idx="5">
                  <c:v/>
                </c:pt>
                <c:pt idx="6">
                  <c:v>IX 64</c:v>
                </c:pt>
              </c:strCache>
            </c:strRef>
          </c:cat>
          <c:val>
            <c:numRef>
              <c:f>Sheet1!$E$2:$E$8</c:f>
              <c:numCache>
                <c:formatCode>General</c:formatCode>
                <c:ptCount val="7"/>
                <c:pt idx="0">
                  <c:v>4.34</c:v>
                </c:pt>
                <c:pt idx="4">
                  <c:v>3.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3</c:v>
                </c:pt>
                <c:pt idx="2">
                  <c:v/>
                </c:pt>
                <c:pt idx="3">
                  <c:v/>
                </c:pt>
                <c:pt idx="4">
                  <c:v>IX 11</c:v>
                </c:pt>
                <c:pt idx="5">
                  <c:v/>
                </c:pt>
                <c:pt idx="6">
                  <c:v>IX 64</c:v>
                </c:pt>
              </c:strCache>
            </c:strRef>
          </c:cat>
          <c:val>
            <c:numRef>
              <c:f>Sheet1!$F$2:$F$8</c:f>
              <c:numCache>
                <c:formatCode>General</c:formatCode>
                <c:ptCount val="7"/>
                <c:pt idx="2">
                  <c:v>4.56</c:v>
                </c:pt>
                <c:pt idx="3">
                  <c:v>2.13</c:v>
                </c:pt>
                <c:pt idx="4">
                  <c:v>4.09</c:v>
                </c:pt>
                <c:pt idx="6">
                  <c:v>2.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122"/>
          <c:min val="1.376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2.6</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C$2:$C$3</c:f>
              <c:numCache>
                <c:formatCode>General</c:formatCode>
                <c:ptCount val="2"/>
                <c:pt idx="0">
                  <c:v>2.6</c:v>
                </c:pt>
                <c:pt idx="1">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F$2:$F$3</c:f>
              <c:numCache>
                <c:formatCode>General</c:formatCode>
                <c:ptCount val="2"/>
                <c:pt idx="0">
                  <c:v>1.36</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1</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1</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1</c:v>
                </c:pt>
              </c:strCache>
            </c:strRef>
          </c:cat>
          <c:val>
            <c:numRef>
              <c:f>Sheet1!$C$2:$C$3</c:f>
              <c:numCache>
                <c:formatCode>General</c:formatCode>
                <c:ptCount val="2"/>
                <c:pt idx="1">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1</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1</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1</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0413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70</c:v>
                </c:pt>
                <c:pt idx="2">
                  <c:v/>
                </c:pt>
                <c:pt idx="3">
                  <c:v>IX 3</c:v>
                </c:pt>
                <c:pt idx="4">
                  <c:v>IX 83</c:v>
                </c:pt>
                <c:pt idx="5">
                  <c:v>IX 100</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2.39</a:t>
                    </a:r>
                  </a:p>
                </c:rich>
              </c:tx>
              <c:dLblPos val="l"/>
              <c:showLegendKey val="0"/>
              <c:showVal val="1"/>
              <c:showCatName val="0"/>
              <c:showSerName val="0"/>
              <c:showPercent val="0"/>
              <c:showBubbleSize val="0"/>
            </c:dLbl>
            <c:dLbl>
              <c:idx val="1"/>
              <c:tx>
                <c:rich>
                  <a:bodyPr/>
                  <a:lstStyle/>
                  <a:p>
                    <a:r>
                      <a:t>IX 70</a:t>
                    </a:r>
                  </a:p>
                  <a:p>
                    <a:r>
                      <a:t>1.9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3</a:t>
                    </a:r>
                  </a:p>
                  <a:p>
                    <a:r>
                      <a:t>0.1</a:t>
                    </a:r>
                  </a:p>
                </c:rich>
              </c:tx>
              <c:dLblPos val="l"/>
              <c:showLegendKey val="0"/>
              <c:showVal val="1"/>
              <c:showCatName val="0"/>
              <c:showSerName val="0"/>
              <c:showPercent val="0"/>
              <c:showBubbleSize val="0"/>
            </c:dLbl>
            <c:dLbl>
              <c:idx val="4"/>
              <c:tx>
                <c:rich>
                  <a:bodyPr/>
                  <a:lstStyle/>
                  <a:p>
                    <a:r>
                      <a:t>IX 83</a:t>
                    </a:r>
                  </a:p>
                  <a:p>
                    <a:r>
                      <a:t>1.02</a:t>
                    </a:r>
                  </a:p>
                </c:rich>
              </c:tx>
              <c:dLblPos val="l"/>
              <c:showLegendKey val="0"/>
              <c:showVal val="1"/>
              <c:showCatName val="0"/>
              <c:showSerName val="0"/>
              <c:showPercent val="0"/>
              <c:showBubbleSize val="0"/>
            </c:dLbl>
            <c:dLbl>
              <c:idx val="5"/>
              <c:tx>
                <c:rich>
                  <a:bodyPr/>
                  <a:lstStyle/>
                  <a:p>
                    <a:r>
                      <a:t>IX 100</a:t>
                    </a:r>
                  </a:p>
                  <a:p>
                    <a:r>
                      <a:t>0.2</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70</c:v>
                </c:pt>
                <c:pt idx="2">
                  <c:v/>
                </c:pt>
                <c:pt idx="3">
                  <c:v>IX 3</c:v>
                </c:pt>
                <c:pt idx="4">
                  <c:v>IX 83</c:v>
                </c:pt>
                <c:pt idx="5">
                  <c:v>IX 100</c:v>
                </c:pt>
                <c:pt idx="6">
                  <c:v/>
                </c:pt>
              </c:strCache>
            </c:strRef>
          </c:cat>
          <c:val>
            <c:numRef>
              <c:f>Sheet1!$C$2:$C$8</c:f>
              <c:numCache>
                <c:formatCode>General</c:formatCode>
                <c:ptCount val="7"/>
                <c:pt idx="0">
                  <c:v>2.39</c:v>
                </c:pt>
                <c:pt idx="1">
                  <c:v>1.98</c:v>
                </c:pt>
                <c:pt idx="3">
                  <c:v>0.1</c:v>
                </c:pt>
                <c:pt idx="4">
                  <c:v>1.02</c:v>
                </c:pt>
                <c:pt idx="5">
                  <c:v>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70</c:v>
                </c:pt>
                <c:pt idx="2">
                  <c:v/>
                </c:pt>
                <c:pt idx="3">
                  <c:v>IX 3</c:v>
                </c:pt>
                <c:pt idx="4">
                  <c:v>IX 83</c:v>
                </c:pt>
                <c:pt idx="5">
                  <c:v>IX 100</c:v>
                </c:pt>
                <c:pt idx="6">
                  <c:v/>
                </c:pt>
              </c:strCache>
            </c:strRef>
          </c:cat>
          <c:val>
            <c:numRef>
              <c:f>Sheet1!$D$2:$D$8</c:f>
              <c:numCache>
                <c:formatCode>General</c:formatCode>
                <c:ptCount val="7"/>
                <c:pt idx="0">
                  <c:v>4.24</c:v>
                </c:pt>
                <c:pt idx="1">
                  <c:v>2.82</c:v>
                </c:pt>
                <c:pt idx="3">
                  <c:v>3.26</c:v>
                </c:pt>
                <c:pt idx="5">
                  <c:v>0.4</c:v>
                </c:pt>
                <c:pt idx="6">
                  <c:v>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70</c:v>
                </c:pt>
                <c:pt idx="2">
                  <c:v/>
                </c:pt>
                <c:pt idx="3">
                  <c:v>IX 3</c:v>
                </c:pt>
                <c:pt idx="4">
                  <c:v>IX 83</c:v>
                </c:pt>
                <c:pt idx="5">
                  <c:v>IX 100</c:v>
                </c:pt>
                <c:pt idx="6">
                  <c:v/>
                </c:pt>
              </c:strCache>
            </c:strRef>
          </c:cat>
          <c:val>
            <c:numRef>
              <c:f>Sheet1!$E$2:$E$8</c:f>
              <c:numCache>
                <c:formatCode>General</c:formatCode>
                <c:ptCount val="7"/>
                <c:pt idx="0">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70</c:v>
                </c:pt>
                <c:pt idx="2">
                  <c:v/>
                </c:pt>
                <c:pt idx="3">
                  <c:v>IX 3</c:v>
                </c:pt>
                <c:pt idx="4">
                  <c:v>IX 83</c:v>
                </c:pt>
                <c:pt idx="5">
                  <c:v>IX 100</c:v>
                </c:pt>
                <c:pt idx="6">
                  <c:v/>
                </c:pt>
              </c:strCache>
            </c:strRef>
          </c:cat>
          <c:val>
            <c:numRef>
              <c:f>Sheet1!$F$2:$F$8</c:f>
              <c:numCache>
                <c:formatCode>General</c:formatCode>
                <c:ptCount val="7"/>
                <c:pt idx="2">
                  <c:v>2.22</c:v>
                </c:pt>
                <c:pt idx="4">
                  <c:v>1.23</c:v>
                </c:pt>
                <c:pt idx="5">
                  <c:v>0.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396"/>
          <c:min val="-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1</c:v>
                </c:pt>
                <c:pt idx="1">
                  <c:v>IX 61</c:v>
                </c:pt>
                <c:pt idx="2">
                  <c:v>IX 123</c:v>
                </c:pt>
                <c:pt idx="3">
                  <c:v/>
                </c:pt>
                <c:pt idx="4">
                  <c:v>IX 88</c:v>
                </c:pt>
                <c:pt idx="5">
                  <c:v>IX 100</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1</a:t>
                    </a:r>
                  </a:p>
                  <a:p>
                    <a:r>
                      <a:t>1.41</a:t>
                    </a:r>
                  </a:p>
                </c:rich>
              </c:tx>
              <c:dLblPos val="l"/>
              <c:showLegendKey val="0"/>
              <c:showVal val="1"/>
              <c:showCatName val="0"/>
              <c:showSerName val="0"/>
              <c:showPercent val="0"/>
              <c:showBubbleSize val="0"/>
            </c:dLbl>
            <c:dLbl>
              <c:idx val="1"/>
              <c:tx>
                <c:rich>
                  <a:bodyPr/>
                  <a:lstStyle/>
                  <a:p>
                    <a:r>
                      <a:t>IX 61</a:t>
                    </a:r>
                  </a:p>
                  <a:p>
                    <a:r>
                      <a:t>0.54</a:t>
                    </a:r>
                  </a:p>
                </c:rich>
              </c:tx>
              <c:dLblPos val="l"/>
              <c:showLegendKey val="0"/>
              <c:showVal val="1"/>
              <c:showCatName val="0"/>
              <c:showSerName val="0"/>
              <c:showPercent val="0"/>
              <c:showBubbleSize val="0"/>
            </c:dLbl>
            <c:dLbl>
              <c:idx val="2"/>
              <c:tx>
                <c:rich>
                  <a:bodyPr/>
                  <a:lstStyle/>
                  <a:p>
                    <a:r>
                      <a:t>IX 123</a:t>
                    </a:r>
                  </a:p>
                  <a:p>
                    <a:r>
                      <a:t>2.2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8</a:t>
                    </a:r>
                  </a:p>
                  <a:p>
                    <a:r>
                      <a:t>1.98</a:t>
                    </a:r>
                  </a:p>
                </c:rich>
              </c:tx>
              <c:dLblPos val="l"/>
              <c:showLegendKey val="0"/>
              <c:showVal val="1"/>
              <c:showCatName val="0"/>
              <c:showSerName val="0"/>
              <c:showPercent val="0"/>
              <c:showBubbleSize val="0"/>
            </c:dLbl>
            <c:dLbl>
              <c:idx val="5"/>
              <c:tx>
                <c:rich>
                  <a:bodyPr/>
                  <a:lstStyle/>
                  <a:p>
                    <a:r>
                      <a:t>IX 100</a:t>
                    </a:r>
                  </a:p>
                  <a:p>
                    <a:r>
                      <a:t>1.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1</c:v>
                </c:pt>
                <c:pt idx="1">
                  <c:v>IX 61</c:v>
                </c:pt>
                <c:pt idx="2">
                  <c:v>IX 123</c:v>
                </c:pt>
                <c:pt idx="3">
                  <c:v/>
                </c:pt>
                <c:pt idx="4">
                  <c:v>IX 88</c:v>
                </c:pt>
                <c:pt idx="5">
                  <c:v>IX 100</c:v>
                </c:pt>
              </c:strCache>
            </c:strRef>
          </c:cat>
          <c:val>
            <c:numRef>
              <c:f>Sheet1!$C$2:$C$7</c:f>
              <c:numCache>
                <c:formatCode>General</c:formatCode>
                <c:ptCount val="6"/>
                <c:pt idx="0">
                  <c:v>1.41</c:v>
                </c:pt>
                <c:pt idx="1">
                  <c:v>0.54</c:v>
                </c:pt>
                <c:pt idx="2">
                  <c:v>2.25</c:v>
                </c:pt>
                <c:pt idx="4">
                  <c:v>1.98</c:v>
                </c:pt>
                <c:pt idx="5">
                  <c:v>1.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1</c:v>
                </c:pt>
                <c:pt idx="1">
                  <c:v>IX 61</c:v>
                </c:pt>
                <c:pt idx="2">
                  <c:v>IX 123</c:v>
                </c:pt>
                <c:pt idx="3">
                  <c:v/>
                </c:pt>
                <c:pt idx="4">
                  <c:v>IX 88</c:v>
                </c:pt>
                <c:pt idx="5">
                  <c:v>IX 100</c:v>
                </c:pt>
              </c:strCache>
            </c:strRef>
          </c:cat>
          <c:val>
            <c:numRef>
              <c:f>Sheet1!$D$2:$D$7</c:f>
              <c:numCache>
                <c:formatCode>General</c:formatCode>
                <c:ptCount val="6"/>
                <c:pt idx="0">
                  <c:v>1.73</c:v>
                </c:pt>
                <c:pt idx="1">
                  <c:v>0.89</c:v>
                </c:pt>
                <c:pt idx="2">
                  <c:v>4.99</c:v>
                </c:pt>
                <c:pt idx="5">
                  <c:v>1.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1</c:v>
                </c:pt>
                <c:pt idx="1">
                  <c:v>IX 61</c:v>
                </c:pt>
                <c:pt idx="2">
                  <c:v>IX 123</c:v>
                </c:pt>
                <c:pt idx="3">
                  <c:v/>
                </c:pt>
                <c:pt idx="4">
                  <c:v>IX 88</c:v>
                </c:pt>
                <c:pt idx="5">
                  <c:v>IX 100</c:v>
                </c:pt>
              </c:strCache>
            </c:strRef>
          </c:cat>
          <c:val>
            <c:numRef>
              <c:f>Sheet1!$E$2:$E$7</c:f>
              <c:numCache>
                <c:formatCode>General</c:formatCode>
                <c:ptCount val="6"/>
                <c:pt idx="0">
                  <c:v>0.97</c:v>
                </c:pt>
                <c:pt idx="1">
                  <c:v>0.19</c:v>
                </c:pt>
                <c:pt idx="2">
                  <c:v>1.83</c:v>
                </c:pt>
                <c:pt idx="4">
                  <c:v>0.7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1</c:v>
                </c:pt>
                <c:pt idx="1">
                  <c:v>IX 61</c:v>
                </c:pt>
                <c:pt idx="2">
                  <c:v>IX 123</c:v>
                </c:pt>
                <c:pt idx="3">
                  <c:v/>
                </c:pt>
                <c:pt idx="4">
                  <c:v>IX 88</c:v>
                </c:pt>
                <c:pt idx="5">
                  <c:v>IX 100</c:v>
                </c:pt>
              </c:strCache>
            </c:strRef>
          </c:cat>
          <c:val>
            <c:numRef>
              <c:f>Sheet1!$F$2:$F$7</c:f>
              <c:numCache>
                <c:formatCode>General</c:formatCode>
                <c:ptCount val="6"/>
                <c:pt idx="0">
                  <c:v>1.04</c:v>
                </c:pt>
                <c:pt idx="1">
                  <c:v>0.6</c:v>
                </c:pt>
                <c:pt idx="2">
                  <c:v>2.97</c:v>
                </c:pt>
                <c:pt idx="3">
                  <c:v>0.29</c:v>
                </c:pt>
                <c:pt idx="4">
                  <c:v>2.2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915"/>
          <c:min val="-0.3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4</c:v>
                </c:pt>
                <c:pt idx="1">
                  <c:v/>
                </c:pt>
                <c:pt idx="2">
                  <c:v/>
                </c:pt>
                <c:pt idx="3">
                  <c:v/>
                </c:pt>
                <c:pt idx="4">
                  <c:v>IX 12</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4</a:t>
                    </a:r>
                  </a:p>
                  <a:p>
                    <a:r>
                      <a:t>6.3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2</a:t>
                    </a:r>
                  </a:p>
                  <a:p>
                    <a:r>
                      <a:t>3.66</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4</c:v>
                </c:pt>
                <c:pt idx="1">
                  <c:v/>
                </c:pt>
                <c:pt idx="2">
                  <c:v/>
                </c:pt>
                <c:pt idx="3">
                  <c:v/>
                </c:pt>
                <c:pt idx="4">
                  <c:v>IX 12</c:v>
                </c:pt>
                <c:pt idx="5">
                  <c:v/>
                </c:pt>
                <c:pt idx="6">
                  <c:v/>
                </c:pt>
              </c:strCache>
            </c:strRef>
          </c:cat>
          <c:val>
            <c:numRef>
              <c:f>Sheet1!$C$2:$C$8</c:f>
              <c:numCache>
                <c:formatCode>General</c:formatCode>
                <c:ptCount val="7"/>
                <c:pt idx="0">
                  <c:v>6.36</c:v>
                </c:pt>
                <c:pt idx="4">
                  <c:v>3.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4</c:v>
                </c:pt>
                <c:pt idx="1">
                  <c:v/>
                </c:pt>
                <c:pt idx="2">
                  <c:v/>
                </c:pt>
                <c:pt idx="3">
                  <c:v/>
                </c:pt>
                <c:pt idx="4">
                  <c:v>IX 12</c:v>
                </c:pt>
                <c:pt idx="5">
                  <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4</c:v>
                </c:pt>
                <c:pt idx="1">
                  <c:v/>
                </c:pt>
                <c:pt idx="2">
                  <c:v/>
                </c:pt>
                <c:pt idx="3">
                  <c:v/>
                </c:pt>
                <c:pt idx="4">
                  <c:v>IX 12</c:v>
                </c:pt>
                <c:pt idx="5">
                  <c:v/>
                </c:pt>
                <c:pt idx="6">
                  <c:v/>
                </c:pt>
              </c:strCache>
            </c:strRef>
          </c:cat>
          <c:val>
            <c:numRef>
              <c:f>Sheet1!$E$2:$E$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4</c:v>
                </c:pt>
                <c:pt idx="1">
                  <c:v/>
                </c:pt>
                <c:pt idx="2">
                  <c:v/>
                </c:pt>
                <c:pt idx="3">
                  <c:v/>
                </c:pt>
                <c:pt idx="4">
                  <c:v>IX 12</c:v>
                </c:pt>
                <c:pt idx="5">
                  <c:v/>
                </c:pt>
                <c:pt idx="6">
                  <c:v/>
                </c:pt>
              </c:strCache>
            </c:strRef>
          </c:cat>
          <c:val>
            <c:numRef>
              <c:f>Sheet1!$F$2:$F$8</c:f>
              <c:numCache>
                <c:formatCode>General</c:formatCode>
                <c:ptCount val="7"/>
                <c:pt idx="4">
                  <c:v>49.1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71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
                </c:pt>
                <c:pt idx="2">
                  <c:v/>
                </c:pt>
                <c:pt idx="3">
                  <c:v/>
                </c:pt>
                <c:pt idx="4">
                  <c:v>IX 46</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3.4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6</a:t>
                    </a:r>
                  </a:p>
                  <a:p>
                    <a:r>
                      <a:t>13.53</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
                </c:pt>
                <c:pt idx="2">
                  <c:v/>
                </c:pt>
                <c:pt idx="3">
                  <c:v/>
                </c:pt>
                <c:pt idx="4">
                  <c:v>IX 46</c:v>
                </c:pt>
                <c:pt idx="5">
                  <c:v/>
                </c:pt>
                <c:pt idx="6">
                  <c:v/>
                </c:pt>
              </c:strCache>
            </c:strRef>
          </c:cat>
          <c:val>
            <c:numRef>
              <c:f>Sheet1!$C$2:$C$8</c:f>
              <c:numCache>
                <c:formatCode>General</c:formatCode>
                <c:ptCount val="7"/>
                <c:pt idx="0">
                  <c:v>3.46</c:v>
                </c:pt>
                <c:pt idx="4">
                  <c:v>13.5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
                </c:pt>
                <c:pt idx="2">
                  <c:v/>
                </c:pt>
                <c:pt idx="3">
                  <c:v/>
                </c:pt>
                <c:pt idx="4">
                  <c:v>IX 46</c:v>
                </c:pt>
                <c:pt idx="5">
                  <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
                </c:pt>
                <c:pt idx="2">
                  <c:v/>
                </c:pt>
                <c:pt idx="3">
                  <c:v/>
                </c:pt>
                <c:pt idx="4">
                  <c:v>IX 46</c:v>
                </c:pt>
                <c:pt idx="5">
                  <c:v/>
                </c:pt>
                <c:pt idx="6">
                  <c:v/>
                </c:pt>
              </c:strCache>
            </c:strRef>
          </c:cat>
          <c:val>
            <c:numRef>
              <c:f>Sheet1!$E$2:$E$8</c:f>
              <c:numCache>
                <c:formatCode>General</c:formatCode>
                <c:ptCount val="7"/>
                <c:pt idx="4">
                  <c:v>49.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
                </c:pt>
                <c:pt idx="2">
                  <c:v/>
                </c:pt>
                <c:pt idx="3">
                  <c:v/>
                </c:pt>
                <c:pt idx="4">
                  <c:v>IX 46</c:v>
                </c:pt>
                <c:pt idx="5">
                  <c:v/>
                </c:pt>
                <c:pt idx="6">
                  <c:v/>
                </c:pt>
              </c:strCache>
            </c:strRef>
          </c:cat>
          <c:val>
            <c:numRef>
              <c:f>Sheet1!$F$2:$F$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71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0</a:t>
                    </a:r>
                  </a:p>
                  <a:p>
                    <a:r>
                      <a:t>2.69</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C$2:$C$8</c:f>
              <c:numCache>
                <c:formatCode>General</c:formatCode>
                <c:ptCount val="7"/>
                <c:pt idx="5">
                  <c:v>2.6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E$2:$E$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F$2:$F$8</c:f>
              <c:numCache>
                <c:formatCode>General</c:formatCode>
                <c:ptCount val="7"/>
                <c:pt idx="4">
                  <c:v>49.1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18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3.0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C$2:$C$8</c:f>
              <c:numCache>
                <c:formatCode>General</c:formatCode>
                <c:ptCount val="7"/>
                <c:pt idx="1">
                  <c:v>3.0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E$2:$E$8</c:f>
              <c:numCache>
                <c:formatCode>General</c:formatCode>
                <c:ptCount val="7"/>
                <c:pt idx="4">
                  <c:v>49.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F$2:$F$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56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4.1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C$2:$C$8</c:f>
              <c:numCache>
                <c:formatCode>General</c:formatCode>
                <c:ptCount val="7"/>
                <c:pt idx="1">
                  <c:v>4.1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E$2:$E$8</c:f>
              <c:numCache>
                <c:formatCode>General</c:formatCode>
                <c:ptCount val="7"/>
                <c:pt idx="4">
                  <c:v>49.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F$2:$F$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71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5</c:v>
                </c:pt>
                <c:pt idx="1">
                  <c:v/>
                </c:pt>
                <c:pt idx="2">
                  <c:v/>
                </c:pt>
                <c:pt idx="3">
                  <c:v/>
                </c:pt>
                <c:pt idx="4">
                  <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4.0</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5</c:v>
                </c:pt>
                <c:pt idx="1">
                  <c:v/>
                </c:pt>
                <c:pt idx="2">
                  <c:v/>
                </c:pt>
                <c:pt idx="3">
                  <c:v/>
                </c:pt>
                <c:pt idx="4">
                  <c:v/>
                </c:pt>
                <c:pt idx="5">
                  <c:v/>
                </c:pt>
                <c:pt idx="6">
                  <c:v/>
                </c:pt>
              </c:strCache>
            </c:strRef>
          </c:cat>
          <c:val>
            <c:numRef>
              <c:f>Sheet1!$C$2:$C$8</c:f>
              <c:numCache>
                <c:formatCode>General</c:formatCode>
                <c:ptCount val="7"/>
                <c:pt idx="0">
                  <c:v>4.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5</c:v>
                </c:pt>
                <c:pt idx="1">
                  <c:v/>
                </c:pt>
                <c:pt idx="2">
                  <c:v/>
                </c:pt>
                <c:pt idx="3">
                  <c:v/>
                </c:pt>
                <c:pt idx="4">
                  <c:v/>
                </c:pt>
                <c:pt idx="5">
                  <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5</c:v>
                </c:pt>
                <c:pt idx="1">
                  <c:v/>
                </c:pt>
                <c:pt idx="2">
                  <c:v/>
                </c:pt>
                <c:pt idx="3">
                  <c:v/>
                </c:pt>
                <c:pt idx="4">
                  <c:v/>
                </c:pt>
                <c:pt idx="5">
                  <c:v/>
                </c:pt>
                <c:pt idx="6">
                  <c:v/>
                </c:pt>
              </c:strCache>
            </c:strRef>
          </c:cat>
          <c:val>
            <c:numRef>
              <c:f>Sheet1!$E$2:$E$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5</c:v>
                </c:pt>
                <c:pt idx="1">
                  <c:v/>
                </c:pt>
                <c:pt idx="2">
                  <c:v/>
                </c:pt>
                <c:pt idx="3">
                  <c:v/>
                </c:pt>
                <c:pt idx="4">
                  <c:v/>
                </c:pt>
                <c:pt idx="5">
                  <c:v/>
                </c:pt>
                <c:pt idx="6">
                  <c:v/>
                </c:pt>
              </c:strCache>
            </c:strRef>
          </c:cat>
          <c:val>
            <c:numRef>
              <c:f>Sheet1!$F$2:$F$8</c:f>
              <c:numCache>
                <c:formatCode>General</c:formatCode>
                <c:ptCount val="7"/>
                <c:pt idx="4">
                  <c:v>49.1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71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9</c:v>
                </c:pt>
                <c:pt idx="1">
                  <c:v/>
                </c:pt>
                <c:pt idx="2">
                  <c:v/>
                </c:pt>
                <c:pt idx="3">
                  <c:v/>
                </c:pt>
                <c:pt idx="4">
                  <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4.2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9</c:v>
                </c:pt>
                <c:pt idx="1">
                  <c:v/>
                </c:pt>
                <c:pt idx="2">
                  <c:v/>
                </c:pt>
                <c:pt idx="3">
                  <c:v/>
                </c:pt>
                <c:pt idx="4">
                  <c:v/>
                </c:pt>
                <c:pt idx="5">
                  <c:v/>
                </c:pt>
                <c:pt idx="6">
                  <c:v/>
                </c:pt>
              </c:strCache>
            </c:strRef>
          </c:cat>
          <c:val>
            <c:numRef>
              <c:f>Sheet1!$C$2:$C$8</c:f>
              <c:numCache>
                <c:formatCode>General</c:formatCode>
                <c:ptCount val="7"/>
                <c:pt idx="0">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9</c:v>
                </c:pt>
                <c:pt idx="1">
                  <c:v/>
                </c:pt>
                <c:pt idx="2">
                  <c:v/>
                </c:pt>
                <c:pt idx="3">
                  <c:v/>
                </c:pt>
                <c:pt idx="4">
                  <c:v/>
                </c:pt>
                <c:pt idx="5">
                  <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9</c:v>
                </c:pt>
                <c:pt idx="1">
                  <c:v/>
                </c:pt>
                <c:pt idx="2">
                  <c:v/>
                </c:pt>
                <c:pt idx="3">
                  <c:v/>
                </c:pt>
                <c:pt idx="4">
                  <c:v/>
                </c:pt>
                <c:pt idx="5">
                  <c:v/>
                </c:pt>
                <c:pt idx="6">
                  <c:v/>
                </c:pt>
              </c:strCache>
            </c:strRef>
          </c:cat>
          <c:val>
            <c:numRef>
              <c:f>Sheet1!$E$2:$E$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9</c:v>
                </c:pt>
                <c:pt idx="1">
                  <c:v/>
                </c:pt>
                <c:pt idx="2">
                  <c:v/>
                </c:pt>
                <c:pt idx="3">
                  <c:v/>
                </c:pt>
                <c:pt idx="4">
                  <c:v/>
                </c:pt>
                <c:pt idx="5">
                  <c:v/>
                </c:pt>
                <c:pt idx="6">
                  <c:v/>
                </c:pt>
              </c:strCache>
            </c:strRef>
          </c:cat>
          <c:val>
            <c:numRef>
              <c:f>Sheet1!$F$2:$F$8</c:f>
              <c:numCache>
                <c:formatCode>General</c:formatCode>
                <c:ptCount val="7"/>
                <c:pt idx="4">
                  <c:v>49.1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71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5</c:v>
                </c:pt>
                <c:pt idx="1">
                  <c:v/>
                </c:pt>
                <c:pt idx="2">
                  <c:v/>
                </c:pt>
                <c:pt idx="3">
                  <c:v/>
                </c:pt>
                <c:pt idx="4">
                  <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5</a:t>
                    </a:r>
                  </a:p>
                  <a:p>
                    <a:r>
                      <a:t>2.7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5</c:v>
                </c:pt>
                <c:pt idx="1">
                  <c:v/>
                </c:pt>
                <c:pt idx="2">
                  <c:v/>
                </c:pt>
                <c:pt idx="3">
                  <c:v/>
                </c:pt>
                <c:pt idx="4">
                  <c:v/>
                </c:pt>
                <c:pt idx="5">
                  <c:v/>
                </c:pt>
                <c:pt idx="6">
                  <c:v/>
                </c:pt>
              </c:strCache>
            </c:strRef>
          </c:cat>
          <c:val>
            <c:numRef>
              <c:f>Sheet1!$C$2:$C$8</c:f>
              <c:numCache>
                <c:formatCode>General</c:formatCode>
                <c:ptCount val="7"/>
                <c:pt idx="0">
                  <c:v>2.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5</c:v>
                </c:pt>
                <c:pt idx="1">
                  <c:v/>
                </c:pt>
                <c:pt idx="2">
                  <c:v/>
                </c:pt>
                <c:pt idx="3">
                  <c:v/>
                </c:pt>
                <c:pt idx="4">
                  <c:v/>
                </c:pt>
                <c:pt idx="5">
                  <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5</c:v>
                </c:pt>
                <c:pt idx="1">
                  <c:v/>
                </c:pt>
                <c:pt idx="2">
                  <c:v/>
                </c:pt>
                <c:pt idx="3">
                  <c:v/>
                </c:pt>
                <c:pt idx="4">
                  <c:v/>
                </c:pt>
                <c:pt idx="5">
                  <c:v/>
                </c:pt>
                <c:pt idx="6">
                  <c:v/>
                </c:pt>
              </c:strCache>
            </c:strRef>
          </c:cat>
          <c:val>
            <c:numRef>
              <c:f>Sheet1!$E$2:$E$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5</c:v>
                </c:pt>
                <c:pt idx="1">
                  <c:v/>
                </c:pt>
                <c:pt idx="2">
                  <c:v/>
                </c:pt>
                <c:pt idx="3">
                  <c:v/>
                </c:pt>
                <c:pt idx="4">
                  <c:v/>
                </c:pt>
                <c:pt idx="5">
                  <c:v/>
                </c:pt>
                <c:pt idx="6">
                  <c:v/>
                </c:pt>
              </c:strCache>
            </c:strRef>
          </c:cat>
          <c:val>
            <c:numRef>
              <c:f>Sheet1!$F$2:$F$8</c:f>
              <c:numCache>
                <c:formatCode>General</c:formatCode>
                <c:ptCount val="7"/>
                <c:pt idx="4">
                  <c:v>49.1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277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262</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7</a:t>
                    </a:r>
                  </a:p>
                  <a:p>
                    <a:r>
                      <a:t>0.76</a:t>
                    </a:r>
                  </a:p>
                </c:rich>
              </c:tx>
              <c:dLblPos val="l"/>
              <c:showLegendKey val="0"/>
              <c:showVal val="1"/>
              <c:showCatName val="0"/>
              <c:showSerName val="0"/>
              <c:showPercent val="0"/>
              <c:showBubbleSize val="0"/>
            </c:dLbl>
            <c:dLbl>
              <c:idx val="1"/>
              <c:tx>
                <c:rich>
                  <a:bodyPr/>
                  <a:lstStyle/>
                  <a:p>
                    <a:r>
                      <a:t>IX 262</a:t>
                    </a:r>
                  </a:p>
                  <a:p>
                    <a:r>
                      <a:t>2.3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262</c:v>
                </c:pt>
              </c:strCache>
            </c:strRef>
          </c:cat>
          <c:val>
            <c:numRef>
              <c:f>Sheet1!$C$2:$C$3</c:f>
              <c:numCache>
                <c:formatCode>General</c:formatCode>
                <c:ptCount val="2"/>
                <c:pt idx="0">
                  <c:v>0.76</c:v>
                </c:pt>
                <c:pt idx="1">
                  <c:v>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262</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262</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c:v>
                </c:pt>
                <c:pt idx="1">
                  <c:v>IX 262</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26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1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C$2:$C$8</c:f>
              <c:numCache>
                <c:formatCode>General</c:formatCode>
                <c:ptCount val="7"/>
                <c:pt idx="1">
                  <c:v>1.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E$2:$E$8</c:f>
              <c:numCache>
                <c:formatCode>General</c:formatCode>
                <c:ptCount val="7"/>
                <c:pt idx="4">
                  <c:v>49.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100</c:v>
                </c:pt>
                <c:pt idx="2">
                  <c:v/>
                </c:pt>
                <c:pt idx="3">
                  <c:v/>
                </c:pt>
                <c:pt idx="4">
                  <c:v/>
                </c:pt>
                <c:pt idx="5">
                  <c:v/>
                </c:pt>
                <c:pt idx="6">
                  <c:v/>
                </c:pt>
              </c:strCache>
            </c:strRef>
          </c:cat>
          <c:val>
            <c:numRef>
              <c:f>Sheet1!$F$2:$F$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0.649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8</c:v>
                </c:pt>
                <c:pt idx="1">
                  <c:v>IX 100</c:v>
                </c:pt>
                <c:pt idx="2">
                  <c:v/>
                </c:pt>
                <c:pt idx="3">
                  <c:v/>
                </c:pt>
                <c:pt idx="4">
                  <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8</a:t>
                    </a:r>
                  </a:p>
                  <a:p>
                    <a:r>
                      <a:t>7.83</a:t>
                    </a:r>
                  </a:p>
                </c:rich>
              </c:tx>
              <c:dLblPos val="l"/>
              <c:showLegendKey val="0"/>
              <c:showVal val="1"/>
              <c:showCatName val="0"/>
              <c:showSerName val="0"/>
              <c:showPercent val="0"/>
              <c:showBubbleSize val="0"/>
            </c:dLbl>
            <c:dLbl>
              <c:idx val="1"/>
              <c:tx>
                <c:rich>
                  <a:bodyPr/>
                  <a:lstStyle/>
                  <a:p>
                    <a:r>
                      <a:t>IX 100</a:t>
                    </a:r>
                  </a:p>
                  <a:p>
                    <a:r>
                      <a:t>3.8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8</c:v>
                </c:pt>
                <c:pt idx="1">
                  <c:v>IX 100</c:v>
                </c:pt>
                <c:pt idx="2">
                  <c:v/>
                </c:pt>
                <c:pt idx="3">
                  <c:v/>
                </c:pt>
                <c:pt idx="4">
                  <c:v/>
                </c:pt>
                <c:pt idx="5">
                  <c:v/>
                </c:pt>
                <c:pt idx="6">
                  <c:v/>
                </c:pt>
              </c:strCache>
            </c:strRef>
          </c:cat>
          <c:val>
            <c:numRef>
              <c:f>Sheet1!$C$2:$C$8</c:f>
              <c:numCache>
                <c:formatCode>General</c:formatCode>
                <c:ptCount val="7"/>
                <c:pt idx="0">
                  <c:v>7.83</c:v>
                </c:pt>
                <c:pt idx="1">
                  <c:v>3.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8</c:v>
                </c:pt>
                <c:pt idx="1">
                  <c:v>IX 100</c:v>
                </c:pt>
                <c:pt idx="2">
                  <c:v/>
                </c:pt>
                <c:pt idx="3">
                  <c:v/>
                </c:pt>
                <c:pt idx="4">
                  <c:v/>
                </c:pt>
                <c:pt idx="5">
                  <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8</c:v>
                </c:pt>
                <c:pt idx="1">
                  <c:v>IX 100</c:v>
                </c:pt>
                <c:pt idx="2">
                  <c:v/>
                </c:pt>
                <c:pt idx="3">
                  <c:v/>
                </c:pt>
                <c:pt idx="4">
                  <c:v/>
                </c:pt>
                <c:pt idx="5">
                  <c:v/>
                </c:pt>
                <c:pt idx="6">
                  <c:v/>
                </c:pt>
              </c:strCache>
            </c:strRef>
          </c:cat>
          <c:val>
            <c:numRef>
              <c:f>Sheet1!$E$2:$E$8</c:f>
              <c:numCache>
                <c:formatCode>General</c:formatCode>
                <c:ptCount val="7"/>
                <c:pt idx="4">
                  <c:v>49.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8</c:v>
                </c:pt>
                <c:pt idx="1">
                  <c:v>IX 100</c:v>
                </c:pt>
                <c:pt idx="2">
                  <c:v/>
                </c:pt>
                <c:pt idx="3">
                  <c:v/>
                </c:pt>
                <c:pt idx="4">
                  <c:v/>
                </c:pt>
                <c:pt idx="5">
                  <c:v/>
                </c:pt>
                <c:pt idx="6">
                  <c:v/>
                </c:pt>
              </c:strCache>
            </c:strRef>
          </c:cat>
          <c:val>
            <c:numRef>
              <c:f>Sheet1!$F$2:$F$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71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8</c:v>
                </c:pt>
                <c:pt idx="1">
                  <c:v>IX 100</c:v>
                </c:pt>
                <c:pt idx="2">
                  <c:v/>
                </c:pt>
                <c:pt idx="3">
                  <c:v/>
                </c:pt>
                <c:pt idx="4">
                  <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8</a:t>
                    </a:r>
                  </a:p>
                  <a:p>
                    <a:r>
                      <a:t>1.12</a:t>
                    </a:r>
                  </a:p>
                </c:rich>
              </c:tx>
              <c:dLblPos val="l"/>
              <c:showLegendKey val="0"/>
              <c:showVal val="1"/>
              <c:showCatName val="0"/>
              <c:showSerName val="0"/>
              <c:showPercent val="0"/>
              <c:showBubbleSize val="0"/>
            </c:dLbl>
            <c:dLbl>
              <c:idx val="1"/>
              <c:tx>
                <c:rich>
                  <a:bodyPr/>
                  <a:lstStyle/>
                  <a:p>
                    <a:r>
                      <a:t>IX 100</a:t>
                    </a:r>
                  </a:p>
                  <a:p>
                    <a:r>
                      <a:t>0.8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8</c:v>
                </c:pt>
                <c:pt idx="1">
                  <c:v>IX 100</c:v>
                </c:pt>
                <c:pt idx="2">
                  <c:v/>
                </c:pt>
                <c:pt idx="3">
                  <c:v/>
                </c:pt>
                <c:pt idx="4">
                  <c:v/>
                </c:pt>
                <c:pt idx="5">
                  <c:v/>
                </c:pt>
                <c:pt idx="6">
                  <c:v/>
                </c:pt>
              </c:strCache>
            </c:strRef>
          </c:cat>
          <c:val>
            <c:numRef>
              <c:f>Sheet1!$C$2:$C$8</c:f>
              <c:numCache>
                <c:formatCode>General</c:formatCode>
                <c:ptCount val="7"/>
                <c:pt idx="0">
                  <c:v>1.12</c:v>
                </c:pt>
                <c:pt idx="1">
                  <c:v>0.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8</c:v>
                </c:pt>
                <c:pt idx="1">
                  <c:v>IX 100</c:v>
                </c:pt>
                <c:pt idx="2">
                  <c:v/>
                </c:pt>
                <c:pt idx="3">
                  <c:v/>
                </c:pt>
                <c:pt idx="4">
                  <c:v/>
                </c:pt>
                <c:pt idx="5">
                  <c:v/>
                </c:pt>
                <c:pt idx="6">
                  <c:v/>
                </c:pt>
              </c:strCache>
            </c:strRef>
          </c:cat>
          <c:val>
            <c:numRef>
              <c:f>Sheet1!$D$2:$D$8</c:f>
              <c:numCache>
                <c:formatCode>General</c:formatCode>
                <c:ptCount val="7"/>
                <c:pt idx="0">
                  <c:v>6.11</c:v>
                </c:pt>
                <c:pt idx="4">
                  <c:v>29.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8</c:v>
                </c:pt>
                <c:pt idx="1">
                  <c:v>IX 100</c:v>
                </c:pt>
                <c:pt idx="2">
                  <c:v/>
                </c:pt>
                <c:pt idx="3">
                  <c:v/>
                </c:pt>
                <c:pt idx="4">
                  <c:v/>
                </c:pt>
                <c:pt idx="5">
                  <c:v/>
                </c:pt>
                <c:pt idx="6">
                  <c:v/>
                </c:pt>
              </c:strCache>
            </c:strRef>
          </c:cat>
          <c:val>
            <c:numRef>
              <c:f>Sheet1!$E$2:$E$8</c:f>
              <c:numCache>
                <c:formatCode>General</c:formatCode>
                <c:ptCount val="7"/>
                <c:pt idx="4">
                  <c:v>49.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8</c:v>
                </c:pt>
                <c:pt idx="1">
                  <c:v>IX 100</c:v>
                </c:pt>
                <c:pt idx="2">
                  <c:v/>
                </c:pt>
                <c:pt idx="3">
                  <c:v/>
                </c:pt>
                <c:pt idx="4">
                  <c:v/>
                </c:pt>
                <c:pt idx="5">
                  <c:v/>
                </c:pt>
                <c:pt idx="6">
                  <c:v/>
                </c:pt>
              </c:strCache>
            </c:strRef>
          </c:cat>
          <c:val>
            <c:numRef>
              <c:f>Sheet1!$F$2:$F$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0.365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6</c:v>
                </c:pt>
                <c:pt idx="1">
                  <c:v/>
                </c:pt>
                <c:pt idx="2">
                  <c:v/>
                </c:pt>
                <c:pt idx="3">
                  <c:v/>
                </c:pt>
                <c:pt idx="4">
                  <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6</a:t>
                    </a:r>
                  </a:p>
                  <a:p>
                    <a:r>
                      <a:t>3.4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6</c:v>
                </c:pt>
                <c:pt idx="1">
                  <c:v/>
                </c:pt>
                <c:pt idx="2">
                  <c:v/>
                </c:pt>
                <c:pt idx="3">
                  <c:v/>
                </c:pt>
                <c:pt idx="4">
                  <c:v/>
                </c:pt>
                <c:pt idx="5">
                  <c:v/>
                </c:pt>
                <c:pt idx="6">
                  <c:v/>
                </c:pt>
              </c:strCache>
            </c:strRef>
          </c:cat>
          <c:val>
            <c:numRef>
              <c:f>Sheet1!$C$2:$C$8</c:f>
              <c:numCache>
                <c:formatCode>General</c:formatCode>
                <c:ptCount val="7"/>
                <c:pt idx="0">
                  <c:v>3.4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6</c:v>
                </c:pt>
                <c:pt idx="1">
                  <c:v/>
                </c:pt>
                <c:pt idx="2">
                  <c:v/>
                </c:pt>
                <c:pt idx="3">
                  <c:v/>
                </c:pt>
                <c:pt idx="4">
                  <c:v/>
                </c:pt>
                <c:pt idx="5">
                  <c:v/>
                </c:pt>
                <c:pt idx="6">
                  <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6</c:v>
                </c:pt>
                <c:pt idx="1">
                  <c:v/>
                </c:pt>
                <c:pt idx="2">
                  <c:v/>
                </c:pt>
                <c:pt idx="3">
                  <c:v/>
                </c:pt>
                <c:pt idx="4">
                  <c:v/>
                </c:pt>
                <c:pt idx="5">
                  <c:v/>
                </c:pt>
                <c:pt idx="6">
                  <c:v/>
                </c:pt>
              </c:strCache>
            </c:strRef>
          </c:cat>
          <c:val>
            <c:numRef>
              <c:f>Sheet1!$E$2:$E$8</c:f>
              <c:numCache>
                <c:formatCode>General</c:formatCode>
                <c:ptCount val="7"/>
                <c:pt idx="1">
                  <c:v>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6</c:v>
                </c:pt>
                <c:pt idx="1">
                  <c:v/>
                </c:pt>
                <c:pt idx="2">
                  <c:v/>
                </c:pt>
                <c:pt idx="3">
                  <c:v/>
                </c:pt>
                <c:pt idx="4">
                  <c:v/>
                </c:pt>
                <c:pt idx="5">
                  <c:v/>
                </c:pt>
                <c:pt idx="6">
                  <c:v/>
                </c:pt>
              </c:strCache>
            </c:strRef>
          </c:cat>
          <c:val>
            <c:numRef>
              <c:f>Sheet1!$F$2:$F$8</c:f>
              <c:numCache>
                <c:formatCode>General</c:formatCode>
                <c:ptCount val="7"/>
                <c:pt idx="3">
                  <c:v>2.3</c:v>
                </c:pt>
                <c:pt idx="4">
                  <c:v>2.1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3</c:v>
                </c:pt>
                <c:pt idx="1">
                  <c:v/>
                </c:pt>
                <c:pt idx="2">
                  <c:v/>
                </c:pt>
                <c:pt idx="3">
                  <c:v/>
                </c:pt>
                <c:pt idx="4">
                  <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3</a:t>
                    </a:r>
                  </a:p>
                  <a:p>
                    <a:r>
                      <a:t>2.5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3</c:v>
                </c:pt>
                <c:pt idx="1">
                  <c:v/>
                </c:pt>
                <c:pt idx="2">
                  <c:v/>
                </c:pt>
                <c:pt idx="3">
                  <c:v/>
                </c:pt>
                <c:pt idx="4">
                  <c:v/>
                </c:pt>
                <c:pt idx="5">
                  <c:v/>
                </c:pt>
                <c:pt idx="6">
                  <c:v/>
                </c:pt>
              </c:strCache>
            </c:strRef>
          </c:cat>
          <c:val>
            <c:numRef>
              <c:f>Sheet1!$C$2:$C$8</c:f>
              <c:numCache>
                <c:formatCode>General</c:formatCode>
                <c:ptCount val="7"/>
                <c:pt idx="0">
                  <c:v>2.5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3</c:v>
                </c:pt>
                <c:pt idx="1">
                  <c:v/>
                </c:pt>
                <c:pt idx="2">
                  <c:v/>
                </c:pt>
                <c:pt idx="3">
                  <c:v/>
                </c:pt>
                <c:pt idx="4">
                  <c:v/>
                </c:pt>
                <c:pt idx="5">
                  <c:v/>
                </c:pt>
                <c:pt idx="6">
                  <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3</c:v>
                </c:pt>
                <c:pt idx="1">
                  <c:v/>
                </c:pt>
                <c:pt idx="2">
                  <c:v/>
                </c:pt>
                <c:pt idx="3">
                  <c:v/>
                </c:pt>
                <c:pt idx="4">
                  <c:v/>
                </c:pt>
                <c:pt idx="5">
                  <c:v/>
                </c:pt>
                <c:pt idx="6">
                  <c:v/>
                </c:pt>
              </c:strCache>
            </c:strRef>
          </c:cat>
          <c:val>
            <c:numRef>
              <c:f>Sheet1!$E$2:$E$8</c:f>
              <c:numCache>
                <c:formatCode>General</c:formatCode>
                <c:ptCount val="7"/>
                <c:pt idx="3">
                  <c:v>2.3</c:v>
                </c:pt>
                <c:pt idx="4">
                  <c:v>2.1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3</c:v>
                </c:pt>
                <c:pt idx="1">
                  <c:v/>
                </c:pt>
                <c:pt idx="2">
                  <c:v/>
                </c:pt>
                <c:pt idx="3">
                  <c:v/>
                </c:pt>
                <c:pt idx="4">
                  <c:v/>
                </c:pt>
                <c:pt idx="5">
                  <c:v/>
                </c:pt>
                <c:pt idx="6">
                  <c:v/>
                </c:pt>
              </c:strCache>
            </c:strRef>
          </c:cat>
          <c:val>
            <c:numRef>
              <c:f>Sheet1!$F$2:$F$8</c:f>
              <c:numCache>
                <c:formatCode>General</c:formatCode>
                <c:ptCount val="7"/>
                <c:pt idx="1">
                  <c:v>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100</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7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100</c:v>
                </c:pt>
                <c:pt idx="5">
                  <c:v/>
                </c:pt>
                <c:pt idx="6">
                  <c:v/>
                </c:pt>
              </c:strCache>
            </c:strRef>
          </c:cat>
          <c:val>
            <c:numRef>
              <c:f>Sheet1!$C$2:$C$8</c:f>
              <c:numCache>
                <c:formatCode>General</c:formatCode>
                <c:ptCount val="7"/>
                <c:pt idx="4">
                  <c:v>1.7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100</c:v>
                </c:pt>
                <c:pt idx="5">
                  <c:v/>
                </c:pt>
                <c:pt idx="6">
                  <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100</c:v>
                </c:pt>
                <c:pt idx="5">
                  <c:v/>
                </c:pt>
                <c:pt idx="6">
                  <c:v/>
                </c:pt>
              </c:strCache>
            </c:strRef>
          </c:cat>
          <c:val>
            <c:numRef>
              <c:f>Sheet1!$E$2:$E$8</c:f>
              <c:numCache>
                <c:formatCode>General</c:formatCode>
                <c:ptCount val="7"/>
                <c:pt idx="3">
                  <c:v>2.3</c:v>
                </c:pt>
                <c:pt idx="4">
                  <c:v>2.1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100</c:v>
                </c:pt>
                <c:pt idx="5">
                  <c:v/>
                </c:pt>
                <c:pt idx="6">
                  <c:v/>
                </c:pt>
              </c:strCache>
            </c:strRef>
          </c:cat>
          <c:val>
            <c:numRef>
              <c:f>Sheet1!$F$2:$F$8</c:f>
              <c:numCache>
                <c:formatCode>General</c:formatCode>
                <c:ptCount val="7"/>
                <c:pt idx="1">
                  <c:v>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81</c:v>
                </c:pt>
                <c:pt idx="2">
                  <c:v/>
                </c:pt>
                <c:pt idx="3">
                  <c:v/>
                </c:pt>
                <c:pt idx="4">
                  <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81</a:t>
                    </a:r>
                  </a:p>
                  <a:p>
                    <a:r>
                      <a:t>2.1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81</c:v>
                </c:pt>
                <c:pt idx="2">
                  <c:v/>
                </c:pt>
                <c:pt idx="3">
                  <c:v/>
                </c:pt>
                <c:pt idx="4">
                  <c:v/>
                </c:pt>
                <c:pt idx="5">
                  <c:v/>
                </c:pt>
                <c:pt idx="6">
                  <c:v/>
                </c:pt>
              </c:strCache>
            </c:strRef>
          </c:cat>
          <c:val>
            <c:numRef>
              <c:f>Sheet1!$C$2:$C$8</c:f>
              <c:numCache>
                <c:formatCode>General</c:formatCode>
                <c:ptCount val="7"/>
                <c:pt idx="1">
                  <c:v>2.1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81</c:v>
                </c:pt>
                <c:pt idx="2">
                  <c:v/>
                </c:pt>
                <c:pt idx="3">
                  <c:v/>
                </c:pt>
                <c:pt idx="4">
                  <c:v/>
                </c:pt>
                <c:pt idx="5">
                  <c:v/>
                </c:pt>
                <c:pt idx="6">
                  <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81</c:v>
                </c:pt>
                <c:pt idx="2">
                  <c:v/>
                </c:pt>
                <c:pt idx="3">
                  <c:v/>
                </c:pt>
                <c:pt idx="4">
                  <c:v/>
                </c:pt>
                <c:pt idx="5">
                  <c:v/>
                </c:pt>
                <c:pt idx="6">
                  <c:v/>
                </c:pt>
              </c:strCache>
            </c:strRef>
          </c:cat>
          <c:val>
            <c:numRef>
              <c:f>Sheet1!$E$2:$E$8</c:f>
              <c:numCache>
                <c:formatCode>General</c:formatCode>
                <c:ptCount val="7"/>
                <c:pt idx="1">
                  <c:v>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81</c:v>
                </c:pt>
                <c:pt idx="2">
                  <c:v/>
                </c:pt>
                <c:pt idx="3">
                  <c:v/>
                </c:pt>
                <c:pt idx="4">
                  <c:v/>
                </c:pt>
                <c:pt idx="5">
                  <c:v/>
                </c:pt>
                <c:pt idx="6">
                  <c:v/>
                </c:pt>
              </c:strCache>
            </c:strRef>
          </c:cat>
          <c:val>
            <c:numRef>
              <c:f>Sheet1!$F$2:$F$8</c:f>
              <c:numCache>
                <c:formatCode>General</c:formatCode>
                <c:ptCount val="7"/>
                <c:pt idx="3">
                  <c:v>2.3</c:v>
                </c:pt>
                <c:pt idx="4">
                  <c:v>2.1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1</a:t>
                    </a:r>
                  </a:p>
                  <a:p>
                    <a:r>
                      <a:t>2.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C$2:$C$8</c:f>
              <c:numCache>
                <c:formatCode>General</c:formatCode>
                <c:ptCount val="7"/>
                <c:pt idx="0">
                  <c:v>2.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E$2:$E$8</c:f>
              <c:numCache>
                <c:formatCode>General</c:formatCode>
                <c:ptCount val="7"/>
                <c:pt idx="3">
                  <c:v>2.3</c:v>
                </c:pt>
                <c:pt idx="4">
                  <c:v>2.1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F$2:$F$8</c:f>
              <c:numCache>
                <c:formatCode>General</c:formatCode>
                <c:ptCount val="7"/>
                <c:pt idx="1">
                  <c:v>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100</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1.26</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100</c:v>
                </c:pt>
              </c:strCache>
            </c:strRef>
          </c:cat>
          <c:val>
            <c:numRef>
              <c:f>Sheet1!$C$2:$C$8</c:f>
              <c:numCache>
                <c:formatCode>General</c:formatCode>
                <c:ptCount val="7"/>
                <c:pt idx="6">
                  <c:v>1.2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100</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100</c:v>
                </c:pt>
              </c:strCache>
            </c:strRef>
          </c:cat>
          <c:val>
            <c:numRef>
              <c:f>Sheet1!$E$2:$E$8</c:f>
              <c:numCache>
                <c:formatCode>General</c:formatCode>
                <c:ptCount val="7"/>
                <c:pt idx="3">
                  <c:v>2.3</c:v>
                </c:pt>
                <c:pt idx="4">
                  <c:v>2.1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100</c:v>
                </c:pt>
              </c:strCache>
            </c:strRef>
          </c:cat>
          <c:val>
            <c:numRef>
              <c:f>Sheet1!$F$2:$F$8</c:f>
              <c:numCache>
                <c:formatCode>General</c:formatCode>
                <c:ptCount val="7"/>
                <c:pt idx="1">
                  <c:v>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36</c:v>
                </c:pt>
                <c:pt idx="1">
                  <c:v/>
                </c:pt>
                <c:pt idx="2">
                  <c:v/>
                </c:pt>
                <c:pt idx="3">
                  <c:v/>
                </c:pt>
                <c:pt idx="4">
                  <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1.4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36</c:v>
                </c:pt>
                <c:pt idx="1">
                  <c:v/>
                </c:pt>
                <c:pt idx="2">
                  <c:v/>
                </c:pt>
                <c:pt idx="3">
                  <c:v/>
                </c:pt>
                <c:pt idx="4">
                  <c:v/>
                </c:pt>
                <c:pt idx="5">
                  <c:v/>
                </c:pt>
                <c:pt idx="6">
                  <c:v/>
                </c:pt>
              </c:strCache>
            </c:strRef>
          </c:cat>
          <c:val>
            <c:numRef>
              <c:f>Sheet1!$C$2:$C$8</c:f>
              <c:numCache>
                <c:formatCode>General</c:formatCode>
                <c:ptCount val="7"/>
                <c:pt idx="0">
                  <c:v>1.4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36</c:v>
                </c:pt>
                <c:pt idx="1">
                  <c:v/>
                </c:pt>
                <c:pt idx="2">
                  <c:v/>
                </c:pt>
                <c:pt idx="3">
                  <c:v/>
                </c:pt>
                <c:pt idx="4">
                  <c:v/>
                </c:pt>
                <c:pt idx="5">
                  <c:v/>
                </c:pt>
                <c:pt idx="6">
                  <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36</c:v>
                </c:pt>
                <c:pt idx="1">
                  <c:v/>
                </c:pt>
                <c:pt idx="2">
                  <c:v/>
                </c:pt>
                <c:pt idx="3">
                  <c:v/>
                </c:pt>
                <c:pt idx="4">
                  <c:v/>
                </c:pt>
                <c:pt idx="5">
                  <c:v/>
                </c:pt>
                <c:pt idx="6">
                  <c:v/>
                </c:pt>
              </c:strCache>
            </c:strRef>
          </c:cat>
          <c:val>
            <c:numRef>
              <c:f>Sheet1!$E$2:$E$8</c:f>
              <c:numCache>
                <c:formatCode>General</c:formatCode>
                <c:ptCount val="7"/>
                <c:pt idx="3">
                  <c:v>2.3</c:v>
                </c:pt>
                <c:pt idx="4">
                  <c:v>2.1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36</c:v>
                </c:pt>
                <c:pt idx="1">
                  <c:v/>
                </c:pt>
                <c:pt idx="2">
                  <c:v/>
                </c:pt>
                <c:pt idx="3">
                  <c:v/>
                </c:pt>
                <c:pt idx="4">
                  <c:v/>
                </c:pt>
                <c:pt idx="5">
                  <c:v/>
                </c:pt>
                <c:pt idx="6">
                  <c:v/>
                </c:pt>
              </c:strCache>
            </c:strRef>
          </c:cat>
          <c:val>
            <c:numRef>
              <c:f>Sheet1!$F$2:$F$8</c:f>
              <c:numCache>
                <c:formatCode>General</c:formatCode>
                <c:ptCount val="7"/>
                <c:pt idx="1">
                  <c:v>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3</a:t>
                    </a:r>
                  </a:p>
                  <a:p>
                    <a:r>
                      <a:t>1.9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C$2:$C$3</c:f>
              <c:numCache>
                <c:formatCode>General</c:formatCode>
                <c:ptCount val="2"/>
                <c:pt idx="0">
                  <c:v>1.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3</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
                </c:pt>
                <c:pt idx="2">
                  <c:v/>
                </c:pt>
                <c:pt idx="3">
                  <c:v/>
                </c:pt>
                <c:pt idx="4">
                  <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2</a:t>
                    </a:r>
                  </a:p>
                  <a:p>
                    <a:r>
                      <a:t>2.0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
                </c:pt>
                <c:pt idx="2">
                  <c:v/>
                </c:pt>
                <c:pt idx="3">
                  <c:v/>
                </c:pt>
                <c:pt idx="4">
                  <c:v/>
                </c:pt>
                <c:pt idx="5">
                  <c:v/>
                </c:pt>
                <c:pt idx="6">
                  <c:v/>
                </c:pt>
              </c:strCache>
            </c:strRef>
          </c:cat>
          <c:val>
            <c:numRef>
              <c:f>Sheet1!$C$2:$C$8</c:f>
              <c:numCache>
                <c:formatCode>General</c:formatCode>
                <c:ptCount val="7"/>
                <c:pt idx="0">
                  <c:v>2.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
                </c:pt>
                <c:pt idx="2">
                  <c:v/>
                </c:pt>
                <c:pt idx="3">
                  <c:v/>
                </c:pt>
                <c:pt idx="4">
                  <c:v/>
                </c:pt>
                <c:pt idx="5">
                  <c:v/>
                </c:pt>
                <c:pt idx="6">
                  <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
                </c:pt>
                <c:pt idx="2">
                  <c:v/>
                </c:pt>
                <c:pt idx="3">
                  <c:v/>
                </c:pt>
                <c:pt idx="4">
                  <c:v/>
                </c:pt>
                <c:pt idx="5">
                  <c:v/>
                </c:pt>
                <c:pt idx="6">
                  <c:v/>
                </c:pt>
              </c:strCache>
            </c:strRef>
          </c:cat>
          <c:val>
            <c:numRef>
              <c:f>Sheet1!$E$2:$E$8</c:f>
              <c:numCache>
                <c:formatCode>General</c:formatCode>
                <c:ptCount val="7"/>
                <c:pt idx="3">
                  <c:v>2.3</c:v>
                </c:pt>
                <c:pt idx="4">
                  <c:v>2.1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
                </c:pt>
                <c:pt idx="2">
                  <c:v/>
                </c:pt>
                <c:pt idx="3">
                  <c:v/>
                </c:pt>
                <c:pt idx="4">
                  <c:v/>
                </c:pt>
                <c:pt idx="5">
                  <c:v/>
                </c:pt>
                <c:pt idx="6">
                  <c:v/>
                </c:pt>
              </c:strCache>
            </c:strRef>
          </c:cat>
          <c:val>
            <c:numRef>
              <c:f>Sheet1!$F$2:$F$8</c:f>
              <c:numCache>
                <c:formatCode>General</c:formatCode>
                <c:ptCount val="7"/>
                <c:pt idx="1">
                  <c:v>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6</c:v>
                </c:pt>
                <c:pt idx="1">
                  <c:v/>
                </c:pt>
                <c:pt idx="2">
                  <c:v/>
                </c:pt>
                <c:pt idx="3">
                  <c:v/>
                </c:pt>
                <c:pt idx="4">
                  <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6</a:t>
                    </a:r>
                  </a:p>
                  <a:p>
                    <a:r>
                      <a:t>1.0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6</c:v>
                </c:pt>
                <c:pt idx="1">
                  <c:v/>
                </c:pt>
                <c:pt idx="2">
                  <c:v/>
                </c:pt>
                <c:pt idx="3">
                  <c:v/>
                </c:pt>
                <c:pt idx="4">
                  <c:v/>
                </c:pt>
                <c:pt idx="5">
                  <c:v/>
                </c:pt>
                <c:pt idx="6">
                  <c:v/>
                </c:pt>
              </c:strCache>
            </c:strRef>
          </c:cat>
          <c:val>
            <c:numRef>
              <c:f>Sheet1!$C$2:$C$8</c:f>
              <c:numCache>
                <c:formatCode>General</c:formatCode>
                <c:ptCount val="7"/>
                <c:pt idx="0">
                  <c:v>1.0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6</c:v>
                </c:pt>
                <c:pt idx="1">
                  <c:v/>
                </c:pt>
                <c:pt idx="2">
                  <c:v/>
                </c:pt>
                <c:pt idx="3">
                  <c:v/>
                </c:pt>
                <c:pt idx="4">
                  <c:v/>
                </c:pt>
                <c:pt idx="5">
                  <c:v/>
                </c:pt>
                <c:pt idx="6">
                  <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6</c:v>
                </c:pt>
                <c:pt idx="1">
                  <c:v/>
                </c:pt>
                <c:pt idx="2">
                  <c:v/>
                </c:pt>
                <c:pt idx="3">
                  <c:v/>
                </c:pt>
                <c:pt idx="4">
                  <c:v/>
                </c:pt>
                <c:pt idx="5">
                  <c:v/>
                </c:pt>
                <c:pt idx="6">
                  <c:v/>
                </c:pt>
              </c:strCache>
            </c:strRef>
          </c:cat>
          <c:val>
            <c:numRef>
              <c:f>Sheet1!$E$2:$E$8</c:f>
              <c:numCache>
                <c:formatCode>General</c:formatCode>
                <c:ptCount val="7"/>
                <c:pt idx="3">
                  <c:v>2.3</c:v>
                </c:pt>
                <c:pt idx="4">
                  <c:v>2.1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6</c:v>
                </c:pt>
                <c:pt idx="1">
                  <c:v/>
                </c:pt>
                <c:pt idx="2">
                  <c:v/>
                </c:pt>
                <c:pt idx="3">
                  <c:v/>
                </c:pt>
                <c:pt idx="4">
                  <c:v/>
                </c:pt>
                <c:pt idx="5">
                  <c:v/>
                </c:pt>
                <c:pt idx="6">
                  <c:v/>
                </c:pt>
              </c:strCache>
            </c:strRef>
          </c:cat>
          <c:val>
            <c:numRef>
              <c:f>Sheet1!$F$2:$F$8</c:f>
              <c:numCache>
                <c:formatCode>General</c:formatCode>
                <c:ptCount val="7"/>
                <c:pt idx="1">
                  <c:v>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2</c:v>
                </c:pt>
                <c:pt idx="2">
                  <c:v/>
                </c:pt>
                <c:pt idx="3">
                  <c:v/>
                </c:pt>
                <c:pt idx="4">
                  <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2</a:t>
                    </a:r>
                  </a:p>
                  <a:p>
                    <a:r>
                      <a:t>1.6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2</c:v>
                </c:pt>
                <c:pt idx="2">
                  <c:v/>
                </c:pt>
                <c:pt idx="3">
                  <c:v/>
                </c:pt>
                <c:pt idx="4">
                  <c:v/>
                </c:pt>
                <c:pt idx="5">
                  <c:v/>
                </c:pt>
                <c:pt idx="6">
                  <c:v/>
                </c:pt>
              </c:strCache>
            </c:strRef>
          </c:cat>
          <c:val>
            <c:numRef>
              <c:f>Sheet1!$C$2:$C$8</c:f>
              <c:numCache>
                <c:formatCode>General</c:formatCode>
                <c:ptCount val="7"/>
                <c:pt idx="1">
                  <c:v>1.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2</c:v>
                </c:pt>
                <c:pt idx="2">
                  <c:v/>
                </c:pt>
                <c:pt idx="3">
                  <c:v/>
                </c:pt>
                <c:pt idx="4">
                  <c:v/>
                </c:pt>
                <c:pt idx="5">
                  <c:v/>
                </c:pt>
                <c:pt idx="6">
                  <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2</c:v>
                </c:pt>
                <c:pt idx="2">
                  <c:v/>
                </c:pt>
                <c:pt idx="3">
                  <c:v/>
                </c:pt>
                <c:pt idx="4">
                  <c:v/>
                </c:pt>
                <c:pt idx="5">
                  <c:v/>
                </c:pt>
                <c:pt idx="6">
                  <c:v/>
                </c:pt>
              </c:strCache>
            </c:strRef>
          </c:cat>
          <c:val>
            <c:numRef>
              <c:f>Sheet1!$E$2:$E$8</c:f>
              <c:numCache>
                <c:formatCode>General</c:formatCode>
                <c:ptCount val="7"/>
                <c:pt idx="1">
                  <c:v>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2</c:v>
                </c:pt>
                <c:pt idx="2">
                  <c:v/>
                </c:pt>
                <c:pt idx="3">
                  <c:v/>
                </c:pt>
                <c:pt idx="4">
                  <c:v/>
                </c:pt>
                <c:pt idx="5">
                  <c:v/>
                </c:pt>
                <c:pt idx="6">
                  <c:v/>
                </c:pt>
              </c:strCache>
            </c:strRef>
          </c:cat>
          <c:val>
            <c:numRef>
              <c:f>Sheet1!$F$2:$F$8</c:f>
              <c:numCache>
                <c:formatCode>General</c:formatCode>
                <c:ptCount val="7"/>
                <c:pt idx="3">
                  <c:v>2.3</c:v>
                </c:pt>
                <c:pt idx="4">
                  <c:v>2.1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31</c:v>
                </c:pt>
                <c:pt idx="2">
                  <c:v>IX 100</c:v>
                </c:pt>
                <c:pt idx="3">
                  <c:v/>
                </c:pt>
                <c:pt idx="4">
                  <c:v/>
                </c:pt>
                <c:pt idx="5">
                  <c:v/>
                </c:pt>
                <c:pt idx="6">
                  <c:v>IX 100</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1</a:t>
                    </a:r>
                  </a:p>
                  <a:p>
                    <a:r>
                      <a:t>2.45</a:t>
                    </a:r>
                  </a:p>
                </c:rich>
              </c:tx>
              <c:dLblPos val="l"/>
              <c:showLegendKey val="0"/>
              <c:showVal val="1"/>
              <c:showCatName val="0"/>
              <c:showSerName val="0"/>
              <c:showPercent val="0"/>
              <c:showBubbleSize val="0"/>
            </c:dLbl>
            <c:dLbl>
              <c:idx val="1"/>
              <c:tx>
                <c:rich>
                  <a:bodyPr/>
                  <a:lstStyle/>
                  <a:p>
                    <a:r>
                      <a:t>IX 31</a:t>
                    </a:r>
                  </a:p>
                  <a:p>
                    <a:r>
                      <a:t>0.85</a:t>
                    </a:r>
                  </a:p>
                </c:rich>
              </c:tx>
              <c:dLblPos val="l"/>
              <c:showLegendKey val="0"/>
              <c:showVal val="1"/>
              <c:showCatName val="0"/>
              <c:showSerName val="0"/>
              <c:showPercent val="0"/>
              <c:showBubbleSize val="0"/>
            </c:dLbl>
            <c:dLbl>
              <c:idx val="2"/>
              <c:tx>
                <c:rich>
                  <a:bodyPr/>
                  <a:lstStyle/>
                  <a:p>
                    <a:r>
                      <a:t>IX 100</a:t>
                    </a:r>
                  </a:p>
                  <a:p>
                    <a:r>
                      <a:t>0.4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0.35</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31</c:v>
                </c:pt>
                <c:pt idx="2">
                  <c:v>IX 100</c:v>
                </c:pt>
                <c:pt idx="3">
                  <c:v/>
                </c:pt>
                <c:pt idx="4">
                  <c:v/>
                </c:pt>
                <c:pt idx="5">
                  <c:v/>
                </c:pt>
                <c:pt idx="6">
                  <c:v>IX 100</c:v>
                </c:pt>
              </c:strCache>
            </c:strRef>
          </c:cat>
          <c:val>
            <c:numRef>
              <c:f>Sheet1!$C$2:$C$8</c:f>
              <c:numCache>
                <c:formatCode>General</c:formatCode>
                <c:ptCount val="7"/>
                <c:pt idx="0">
                  <c:v>2.45</c:v>
                </c:pt>
                <c:pt idx="1">
                  <c:v>0.85</c:v>
                </c:pt>
                <c:pt idx="2">
                  <c:v>0.42</c:v>
                </c:pt>
                <c:pt idx="6">
                  <c:v>0.3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31</c:v>
                </c:pt>
                <c:pt idx="2">
                  <c:v>IX 100</c:v>
                </c:pt>
                <c:pt idx="3">
                  <c:v/>
                </c:pt>
                <c:pt idx="4">
                  <c:v/>
                </c:pt>
                <c:pt idx="5">
                  <c:v/>
                </c:pt>
                <c:pt idx="6">
                  <c:v>IX 100</c:v>
                </c:pt>
              </c:strCache>
            </c:strRef>
          </c:cat>
          <c:val>
            <c:numRef>
              <c:f>Sheet1!$D$2:$D$8</c:f>
              <c:numCache>
                <c:formatCode>General</c:formatCode>
                <c:ptCount val="7"/>
                <c:pt idx="0">
                  <c:v>4.02</c:v>
                </c:pt>
                <c:pt idx="4">
                  <c:v>3.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31</c:v>
                </c:pt>
                <c:pt idx="2">
                  <c:v>IX 100</c:v>
                </c:pt>
                <c:pt idx="3">
                  <c:v/>
                </c:pt>
                <c:pt idx="4">
                  <c:v/>
                </c:pt>
                <c:pt idx="5">
                  <c:v/>
                </c:pt>
                <c:pt idx="6">
                  <c:v>IX 100</c:v>
                </c:pt>
              </c:strCache>
            </c:strRef>
          </c:cat>
          <c:val>
            <c:numRef>
              <c:f>Sheet1!$E$2:$E$8</c:f>
              <c:numCache>
                <c:formatCode>General</c:formatCode>
                <c:ptCount val="7"/>
                <c:pt idx="3">
                  <c:v>2.3</c:v>
                </c:pt>
                <c:pt idx="4">
                  <c:v>2.1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31</c:v>
                </c:pt>
                <c:pt idx="2">
                  <c:v>IX 100</c:v>
                </c:pt>
                <c:pt idx="3">
                  <c:v/>
                </c:pt>
                <c:pt idx="4">
                  <c:v/>
                </c:pt>
                <c:pt idx="5">
                  <c:v/>
                </c:pt>
                <c:pt idx="6">
                  <c:v>IX 100</c:v>
                </c:pt>
              </c:strCache>
            </c:strRef>
          </c:cat>
          <c:val>
            <c:numRef>
              <c:f>Sheet1!$F$2:$F$8</c:f>
              <c:numCache>
                <c:formatCode>General</c:formatCode>
                <c:ptCount val="7"/>
                <c:pt idx="1">
                  <c:v>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155"/>
          <c:min val="-0.1523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IX 100</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4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0</a:t>
                    </a:r>
                  </a:p>
                  <a:p>
                    <a:r>
                      <a:t>1.58</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IX 100</c:v>
                </c:pt>
                <c:pt idx="6">
                  <c:v/>
                </c:pt>
              </c:strCache>
            </c:strRef>
          </c:cat>
          <c:val>
            <c:numRef>
              <c:f>Sheet1!$C$2:$C$8</c:f>
              <c:numCache>
                <c:formatCode>General</c:formatCode>
                <c:ptCount val="7"/>
                <c:pt idx="0">
                  <c:v>1.42</c:v>
                </c:pt>
                <c:pt idx="5">
                  <c:v>1.5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IX 100</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IX 100</c:v>
                </c:pt>
                <c:pt idx="6">
                  <c:v/>
                </c:pt>
              </c:strCache>
            </c:strRef>
          </c:cat>
          <c:val>
            <c:numRef>
              <c:f>Sheet1!$E$2:$E$8</c:f>
              <c:numCache>
                <c:formatCode>General</c:formatCode>
                <c:ptCount val="7"/>
                <c:pt idx="1">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4</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IX 100</c:v>
                </c:pt>
                <c:pt idx="6">
                  <c:v/>
                </c:pt>
              </c:strCache>
            </c:strRef>
          </c:cat>
          <c:val>
            <c:numRef>
              <c:f>Sheet1!$F$2:$F$8</c:f>
              <c:numCache>
                <c:formatCode>General</c:formatCode>
                <c:ptCount val="7"/>
                <c:pt idx="3">
                  <c:v>2.2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3.6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C$2:$C$8</c:f>
              <c:numCache>
                <c:formatCode>General</c:formatCode>
                <c:ptCount val="7"/>
                <c:pt idx="2">
                  <c:v>3.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D$2:$D$8</c:f>
              <c:numCache>
                <c:formatCode>General</c:formatCode>
                <c:ptCount val="7"/>
                <c:pt idx="3">
                  <c:v>2.2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E$2:$E$8</c:f>
              <c:numCache>
                <c:formatCode>General</c:formatCode>
                <c:ptCount val="7"/>
                <c:pt idx="1">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F$2:$F$8</c:f>
              <c:numCache>
                <c:formatCode>General</c:formatCode>
                <c:ptCount val="7"/>
                <c:pt idx="1">
                  <c:v>0.47</c:v>
                </c:pt>
                <c:pt idx="4">
                  <c:v>0.3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162100000000001"/>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5</a:t>
                    </a:r>
                  </a:p>
                  <a:p>
                    <a:r>
                      <a:t>0.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
                </c:pt>
                <c:pt idx="4">
                  <c:v/>
                </c:pt>
                <c:pt idx="5">
                  <c:v/>
                </c:pt>
                <c:pt idx="6">
                  <c:v/>
                </c:pt>
              </c:strCache>
            </c:strRef>
          </c:cat>
          <c:val>
            <c:numRef>
              <c:f>Sheet1!$C$2:$C$8</c:f>
              <c:numCache>
                <c:formatCode>General</c:formatCode>
                <c:ptCount val="7"/>
                <c:pt idx="1">
                  <c:v>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
                </c:pt>
                <c:pt idx="4">
                  <c:v/>
                </c:pt>
                <c:pt idx="5">
                  <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
                </c:pt>
                <c:pt idx="4">
                  <c:v/>
                </c:pt>
                <c:pt idx="5">
                  <c:v/>
                </c:pt>
                <c:pt idx="6">
                  <c:v/>
                </c:pt>
              </c:strCache>
            </c:strRef>
          </c:cat>
          <c:val>
            <c:numRef>
              <c:f>Sheet1!$E$2:$E$8</c:f>
              <c:numCache>
                <c:formatCode>General</c:formatCode>
                <c:ptCount val="7"/>
                <c:pt idx="3">
                  <c:v>2.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5</c:v>
                </c:pt>
                <c:pt idx="2">
                  <c:v/>
                </c:pt>
                <c:pt idx="3">
                  <c:v/>
                </c:pt>
                <c:pt idx="4">
                  <c:v/>
                </c:pt>
                <c:pt idx="5">
                  <c:v/>
                </c:pt>
                <c:pt idx="6">
                  <c:v/>
                </c:pt>
              </c:strCache>
            </c:strRef>
          </c:cat>
          <c:val>
            <c:numRef>
              <c:f>Sheet1!$F$2:$F$8</c:f>
              <c:numCache>
                <c:formatCode>General</c:formatCode>
                <c:ptCount val="7"/>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219</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219</a:t>
                    </a:r>
                  </a:p>
                  <a:p>
                    <a:r>
                      <a:t>5.0</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219</c:v>
                </c:pt>
                <c:pt idx="4">
                  <c:v/>
                </c:pt>
                <c:pt idx="5">
                  <c:v/>
                </c:pt>
                <c:pt idx="6">
                  <c:v/>
                </c:pt>
              </c:strCache>
            </c:strRef>
          </c:cat>
          <c:val>
            <c:numRef>
              <c:f>Sheet1!$C$2:$C$8</c:f>
              <c:numCache>
                <c:formatCode>General</c:formatCode>
                <c:ptCount val="7"/>
                <c:pt idx="3">
                  <c:v>5.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219</c:v>
                </c:pt>
                <c:pt idx="4">
                  <c:v/>
                </c:pt>
                <c:pt idx="5">
                  <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219</c:v>
                </c:pt>
                <c:pt idx="4">
                  <c:v/>
                </c:pt>
                <c:pt idx="5">
                  <c:v/>
                </c:pt>
                <c:pt idx="6">
                  <c:v/>
                </c:pt>
              </c:strCache>
            </c:strRef>
          </c:cat>
          <c:val>
            <c:numRef>
              <c:f>Sheet1!$E$2:$E$8</c:f>
              <c:numCache>
                <c:formatCode>General</c:formatCode>
                <c:ptCount val="7"/>
                <c:pt idx="3">
                  <c:v>2.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219</c:v>
                </c:pt>
                <c:pt idx="4">
                  <c:v/>
                </c:pt>
                <c:pt idx="5">
                  <c:v/>
                </c:pt>
                <c:pt idx="6">
                  <c:v/>
                </c:pt>
              </c:strCache>
            </c:strRef>
          </c:cat>
          <c:val>
            <c:numRef>
              <c:f>Sheet1!$F$2:$F$8</c:f>
              <c:numCache>
                <c:formatCode>General</c:formatCode>
                <c:ptCount val="7"/>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5"/>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26</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26</a:t>
                    </a:r>
                  </a:p>
                  <a:p>
                    <a:r>
                      <a:t>2.89</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26</c:v>
                </c:pt>
                <c:pt idx="4">
                  <c:v/>
                </c:pt>
                <c:pt idx="5">
                  <c:v/>
                </c:pt>
                <c:pt idx="6">
                  <c:v/>
                </c:pt>
              </c:strCache>
            </c:strRef>
          </c:cat>
          <c:val>
            <c:numRef>
              <c:f>Sheet1!$C$2:$C$8</c:f>
              <c:numCache>
                <c:formatCode>General</c:formatCode>
                <c:ptCount val="7"/>
                <c:pt idx="3">
                  <c:v>2.8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26</c:v>
                </c:pt>
                <c:pt idx="4">
                  <c:v/>
                </c:pt>
                <c:pt idx="5">
                  <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26</c:v>
                </c:pt>
                <c:pt idx="4">
                  <c:v/>
                </c:pt>
                <c:pt idx="5">
                  <c:v/>
                </c:pt>
                <c:pt idx="6">
                  <c:v/>
                </c:pt>
              </c:strCache>
            </c:strRef>
          </c:cat>
          <c:val>
            <c:numRef>
              <c:f>Sheet1!$E$2:$E$8</c:f>
              <c:numCache>
                <c:formatCode>General</c:formatCode>
                <c:ptCount val="7"/>
                <c:pt idx="3">
                  <c:v>2.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126</c:v>
                </c:pt>
                <c:pt idx="4">
                  <c:v/>
                </c:pt>
                <c:pt idx="5">
                  <c:v/>
                </c:pt>
                <c:pt idx="6">
                  <c:v/>
                </c:pt>
              </c:strCache>
            </c:strRef>
          </c:cat>
          <c:val>
            <c:numRef>
              <c:f>Sheet1!$F$2:$F$8</c:f>
              <c:numCache>
                <c:formatCode>General</c:formatCode>
                <c:ptCount val="7"/>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Class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5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C$2:$C$8</c:f>
              <c:numCache>
                <c:formatCode>General</c:formatCode>
                <c:ptCount val="7"/>
                <c:pt idx="0">
                  <c:v>1.5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E$2:$E$8</c:f>
              <c:numCache>
                <c:formatCode>General</c:formatCode>
                <c:ptCount val="7"/>
                <c:pt idx="3">
                  <c:v>2.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F$2:$F$8</c:f>
              <c:numCache>
                <c:formatCode>General</c:formatCode>
                <c:ptCount val="7"/>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2</c:v>
                </c:pt>
                <c:pt idx="1">
                  <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2</a:t>
                    </a:r>
                  </a:p>
                  <a:p>
                    <a:r>
                      <a:t>2.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2</c:v>
                </c:pt>
                <c:pt idx="1">
                  <c:v/>
                </c:pt>
              </c:strCache>
            </c:strRef>
          </c:cat>
          <c:val>
            <c:numRef>
              <c:f>Sheet1!$C$2:$C$3</c:f>
              <c:numCache>
                <c:formatCode>General</c:formatCode>
                <c:ptCount val="2"/>
                <c:pt idx="0">
                  <c:v>2.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2</c:v>
                </c:pt>
                <c:pt idx="1">
                  <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2</c:v>
                </c:pt>
                <c:pt idx="1">
                  <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2</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82</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82</a:t>
                    </a:r>
                  </a:p>
                  <a:p>
                    <a:r>
                      <a:t>1.8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82</c:v>
                </c:pt>
                <c:pt idx="4">
                  <c:v/>
                </c:pt>
                <c:pt idx="5">
                  <c:v/>
                </c:pt>
                <c:pt idx="6">
                  <c:v/>
                </c:pt>
              </c:strCache>
            </c:strRef>
          </c:cat>
          <c:val>
            <c:numRef>
              <c:f>Sheet1!$C$2:$C$8</c:f>
              <c:numCache>
                <c:formatCode>General</c:formatCode>
                <c:ptCount val="7"/>
                <c:pt idx="3">
                  <c:v>1.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82</c:v>
                </c:pt>
                <c:pt idx="4">
                  <c:v/>
                </c:pt>
                <c:pt idx="5">
                  <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82</c:v>
                </c:pt>
                <c:pt idx="4">
                  <c:v/>
                </c:pt>
                <c:pt idx="5">
                  <c:v/>
                </c:pt>
                <c:pt idx="6">
                  <c:v/>
                </c:pt>
              </c:strCache>
            </c:strRef>
          </c:cat>
          <c:val>
            <c:numRef>
              <c:f>Sheet1!$E$2:$E$8</c:f>
              <c:numCache>
                <c:formatCode>General</c:formatCode>
                <c:ptCount val="7"/>
                <c:pt idx="3">
                  <c:v>2.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82</c:v>
                </c:pt>
                <c:pt idx="4">
                  <c:v/>
                </c:pt>
                <c:pt idx="5">
                  <c:v/>
                </c:pt>
                <c:pt idx="6">
                  <c:v/>
                </c:pt>
              </c:strCache>
            </c:strRef>
          </c:cat>
          <c:val>
            <c:numRef>
              <c:f>Sheet1!$F$2:$F$8</c:f>
              <c:numCache>
                <c:formatCode>General</c:formatCode>
                <c:ptCount val="7"/>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3.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C$2:$C$8</c:f>
              <c:numCache>
                <c:formatCode>General</c:formatCode>
                <c:ptCount val="7"/>
                <c:pt idx="2">
                  <c:v>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E$2:$E$8</c:f>
              <c:numCache>
                <c:formatCode>General</c:formatCode>
                <c:ptCount val="7"/>
                <c:pt idx="3">
                  <c:v>2.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F$2:$F$8</c:f>
              <c:numCache>
                <c:formatCode>General</c:formatCode>
                <c:ptCount val="7"/>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038"/>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8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C$2:$C$8</c:f>
              <c:numCache>
                <c:formatCode>General</c:formatCode>
                <c:ptCount val="7"/>
                <c:pt idx="2">
                  <c:v>1.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D$2:$D$8</c:f>
              <c:numCache>
                <c:formatCode>General</c:formatCode>
                <c:ptCount val="7"/>
                <c:pt idx="3">
                  <c:v>2.2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E$2:$E$8</c:f>
              <c:numCache>
                <c:formatCode>General</c:formatCode>
                <c:ptCount val="7"/>
                <c:pt idx="1">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IX 100</c:v>
                </c:pt>
                <c:pt idx="3">
                  <c:v/>
                </c:pt>
                <c:pt idx="4">
                  <c:v/>
                </c:pt>
                <c:pt idx="5">
                  <c:v/>
                </c:pt>
                <c:pt idx="6">
                  <c:v/>
                </c:pt>
              </c:strCache>
            </c:strRef>
          </c:cat>
          <c:val>
            <c:numRef>
              <c:f>Sheet1!$F$2:$F$8</c:f>
              <c:numCache>
                <c:formatCode>General</c:formatCode>
                <c:ptCount val="7"/>
                <c:pt idx="1">
                  <c:v>0.47</c:v>
                </c:pt>
                <c:pt idx="4">
                  <c:v>0.3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0.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C$2:$C$8</c:f>
              <c:numCache>
                <c:formatCode>General</c:formatCode>
                <c:ptCount val="7"/>
                <c:pt idx="0">
                  <c:v>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E$2:$E$8</c:f>
              <c:numCache>
                <c:formatCode>General</c:formatCode>
                <c:ptCount val="7"/>
                <c:pt idx="3">
                  <c:v>2.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F$2:$F$8</c:f>
              <c:numCache>
                <c:formatCode>General</c:formatCode>
                <c:ptCount val="7"/>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0</c:v>
                </c:pt>
                <c:pt idx="2">
                  <c:v/>
                </c:pt>
                <c:pt idx="3">
                  <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0</a:t>
                    </a:r>
                  </a:p>
                  <a:p>
                    <a:r>
                      <a:t>0.1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0</c:v>
                </c:pt>
                <c:pt idx="2">
                  <c:v/>
                </c:pt>
                <c:pt idx="3">
                  <c:v/>
                </c:pt>
                <c:pt idx="4">
                  <c:v/>
                </c:pt>
                <c:pt idx="5">
                  <c:v/>
                </c:pt>
                <c:pt idx="6">
                  <c:v/>
                </c:pt>
              </c:strCache>
            </c:strRef>
          </c:cat>
          <c:val>
            <c:numRef>
              <c:f>Sheet1!$C$2:$C$8</c:f>
              <c:numCache>
                <c:formatCode>General</c:formatCode>
                <c:ptCount val="7"/>
                <c:pt idx="1">
                  <c:v>0.1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0</c:v>
                </c:pt>
                <c:pt idx="2">
                  <c:v/>
                </c:pt>
                <c:pt idx="3">
                  <c:v/>
                </c:pt>
                <c:pt idx="4">
                  <c:v/>
                </c:pt>
                <c:pt idx="5">
                  <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0</c:v>
                </c:pt>
                <c:pt idx="2">
                  <c:v/>
                </c:pt>
                <c:pt idx="3">
                  <c:v/>
                </c:pt>
                <c:pt idx="4">
                  <c:v/>
                </c:pt>
                <c:pt idx="5">
                  <c:v/>
                </c:pt>
                <c:pt idx="6">
                  <c:v/>
                </c:pt>
              </c:strCache>
            </c:strRef>
          </c:cat>
          <c:val>
            <c:numRef>
              <c:f>Sheet1!$E$2:$E$8</c:f>
              <c:numCache>
                <c:formatCode>General</c:formatCode>
                <c:ptCount val="7"/>
                <c:pt idx="1">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4</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0</c:v>
                </c:pt>
                <c:pt idx="2">
                  <c:v/>
                </c:pt>
                <c:pt idx="3">
                  <c:v/>
                </c:pt>
                <c:pt idx="4">
                  <c:v/>
                </c:pt>
                <c:pt idx="5">
                  <c:v/>
                </c:pt>
                <c:pt idx="6">
                  <c:v/>
                </c:pt>
              </c:strCache>
            </c:strRef>
          </c:cat>
          <c:val>
            <c:numRef>
              <c:f>Sheet1!$F$2:$F$8</c:f>
              <c:numCache>
                <c:formatCode>General</c:formatCode>
                <c:ptCount val="7"/>
                <c:pt idx="3">
                  <c:v>2.2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3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3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C$2:$C$8</c:f>
              <c:numCache>
                <c:formatCode>General</c:formatCode>
                <c:ptCount val="7"/>
                <c:pt idx="0">
                  <c:v>1.3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E$2:$E$8</c:f>
              <c:numCache>
                <c:formatCode>General</c:formatCode>
                <c:ptCount val="7"/>
                <c:pt idx="3">
                  <c:v>2.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
                </c:pt>
                <c:pt idx="2">
                  <c:v/>
                </c:pt>
                <c:pt idx="3">
                  <c:v/>
                </c:pt>
                <c:pt idx="4">
                  <c:v/>
                </c:pt>
                <c:pt idx="5">
                  <c:v/>
                </c:pt>
                <c:pt idx="6">
                  <c:v/>
                </c:pt>
              </c:strCache>
            </c:strRef>
          </c:cat>
          <c:val>
            <c:numRef>
              <c:f>Sheet1!$F$2:$F$8</c:f>
              <c:numCache>
                <c:formatCode>General</c:formatCode>
                <c:ptCount val="7"/>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6</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76</a:t>
                    </a:r>
                  </a:p>
                  <a:p>
                    <a:r>
                      <a:t>1.7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6</c:v>
                </c:pt>
                <c:pt idx="4">
                  <c:v/>
                </c:pt>
                <c:pt idx="5">
                  <c:v/>
                </c:pt>
                <c:pt idx="6">
                  <c:v/>
                </c:pt>
              </c:strCache>
            </c:strRef>
          </c:cat>
          <c:val>
            <c:numRef>
              <c:f>Sheet1!$C$2:$C$8</c:f>
              <c:numCache>
                <c:formatCode>General</c:formatCode>
                <c:ptCount val="7"/>
                <c:pt idx="3">
                  <c:v>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6</c:v>
                </c:pt>
                <c:pt idx="4">
                  <c:v/>
                </c:pt>
                <c:pt idx="5">
                  <c:v/>
                </c:pt>
                <c:pt idx="6">
                  <c:v/>
                </c:pt>
              </c:strCache>
            </c:strRef>
          </c:cat>
          <c:val>
            <c:numRef>
              <c:f>Sheet1!$D$2:$D$8</c:f>
              <c:numCache>
                <c:formatCode>General</c:formatCode>
                <c:ptCount val="7"/>
                <c:pt idx="1">
                  <c:v>0.47</c:v>
                </c:pt>
                <c:pt idx="4">
                  <c:v>0.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6</c:v>
                </c:pt>
                <c:pt idx="4">
                  <c:v/>
                </c:pt>
                <c:pt idx="5">
                  <c:v/>
                </c:pt>
                <c:pt idx="6">
                  <c:v/>
                </c:pt>
              </c:strCache>
            </c:strRef>
          </c:cat>
          <c:val>
            <c:numRef>
              <c:f>Sheet1!$E$2:$E$8</c:f>
              <c:numCache>
                <c:formatCode>General</c:formatCode>
                <c:ptCount val="7"/>
                <c:pt idx="3">
                  <c:v>2.2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IX 76</c:v>
                </c:pt>
                <c:pt idx="4">
                  <c:v/>
                </c:pt>
                <c:pt idx="5">
                  <c:v/>
                </c:pt>
                <c:pt idx="6">
                  <c:v/>
                </c:pt>
              </c:strCache>
            </c:strRef>
          </c:cat>
          <c:val>
            <c:numRef>
              <c:f>Sheet1!$F$2:$F$8</c:f>
              <c:numCache>
                <c:formatCode>General</c:formatCode>
                <c:ptCount val="7"/>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57</c:v>
                </c:pt>
                <c:pt idx="2">
                  <c:v/>
                </c:pt>
                <c:pt idx="3">
                  <c:v>IX 74</c:v>
                </c:pt>
                <c:pt idx="4">
                  <c:v>IX 65</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0.96</a:t>
                    </a:r>
                  </a:p>
                </c:rich>
              </c:tx>
              <c:dLblPos val="l"/>
              <c:showLegendKey val="0"/>
              <c:showVal val="1"/>
              <c:showCatName val="0"/>
              <c:showSerName val="0"/>
              <c:showPercent val="0"/>
              <c:showBubbleSize val="0"/>
            </c:dLbl>
            <c:dLbl>
              <c:idx val="1"/>
              <c:tx>
                <c:rich>
                  <a:bodyPr/>
                  <a:lstStyle/>
                  <a:p>
                    <a:r>
                      <a:t>IX 57</a:t>
                    </a:r>
                  </a:p>
                  <a:p>
                    <a:r>
                      <a:t>0.5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74</a:t>
                    </a:r>
                  </a:p>
                  <a:p>
                    <a:r>
                      <a:t>1.69</a:t>
                    </a:r>
                  </a:p>
                </c:rich>
              </c:tx>
              <c:dLblPos val="l"/>
              <c:showLegendKey val="0"/>
              <c:showVal val="1"/>
              <c:showCatName val="0"/>
              <c:showSerName val="0"/>
              <c:showPercent val="0"/>
              <c:showBubbleSize val="0"/>
            </c:dLbl>
            <c:dLbl>
              <c:idx val="4"/>
              <c:tx>
                <c:rich>
                  <a:bodyPr/>
                  <a:lstStyle/>
                  <a:p>
                    <a:r>
                      <a:t>IX 65</a:t>
                    </a:r>
                  </a:p>
                  <a:p>
                    <a:r>
                      <a:t>0.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57</c:v>
                </c:pt>
                <c:pt idx="2">
                  <c:v/>
                </c:pt>
                <c:pt idx="3">
                  <c:v>IX 74</c:v>
                </c:pt>
                <c:pt idx="4">
                  <c:v>IX 65</c:v>
                </c:pt>
                <c:pt idx="5">
                  <c:v/>
                </c:pt>
                <c:pt idx="6">
                  <c:v/>
                </c:pt>
              </c:strCache>
            </c:strRef>
          </c:cat>
          <c:val>
            <c:numRef>
              <c:f>Sheet1!$C$2:$C$8</c:f>
              <c:numCache>
                <c:formatCode>General</c:formatCode>
                <c:ptCount val="7"/>
                <c:pt idx="0">
                  <c:v>0.96</c:v>
                </c:pt>
                <c:pt idx="1">
                  <c:v>0.53</c:v>
                </c:pt>
                <c:pt idx="3">
                  <c:v>1.69</c:v>
                </c:pt>
                <c:pt idx="4">
                  <c:v>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57</c:v>
                </c:pt>
                <c:pt idx="2">
                  <c:v/>
                </c:pt>
                <c:pt idx="3">
                  <c:v>IX 74</c:v>
                </c:pt>
                <c:pt idx="4">
                  <c:v>IX 65</c:v>
                </c:pt>
                <c:pt idx="5">
                  <c:v/>
                </c:pt>
                <c:pt idx="6">
                  <c:v/>
                </c:pt>
              </c:strCache>
            </c:strRef>
          </c:cat>
          <c:val>
            <c:numRef>
              <c:f>Sheet1!$D$2:$D$8</c:f>
              <c:numCache>
                <c:formatCode>General</c:formatCode>
                <c:ptCount val="7"/>
                <c:pt idx="3">
                  <c:v>2.2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57</c:v>
                </c:pt>
                <c:pt idx="2">
                  <c:v/>
                </c:pt>
                <c:pt idx="3">
                  <c:v>IX 74</c:v>
                </c:pt>
                <c:pt idx="4">
                  <c:v>IX 65</c:v>
                </c:pt>
                <c:pt idx="5">
                  <c:v/>
                </c:pt>
                <c:pt idx="6">
                  <c:v/>
                </c:pt>
              </c:strCache>
            </c:strRef>
          </c:cat>
          <c:val>
            <c:numRef>
              <c:f>Sheet1!$E$2:$E$8</c:f>
              <c:numCache>
                <c:formatCode>General</c:formatCode>
                <c:ptCount val="7"/>
                <c:pt idx="1">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0</c:v>
                </c:pt>
                <c:pt idx="1">
                  <c:v>IX 57</c:v>
                </c:pt>
                <c:pt idx="2">
                  <c:v/>
                </c:pt>
                <c:pt idx="3">
                  <c:v>IX 74</c:v>
                </c:pt>
                <c:pt idx="4">
                  <c:v>IX 65</c:v>
                </c:pt>
                <c:pt idx="5">
                  <c:v/>
                </c:pt>
                <c:pt idx="6">
                  <c:v/>
                </c:pt>
              </c:strCache>
            </c:strRef>
          </c:cat>
          <c:val>
            <c:numRef>
              <c:f>Sheet1!$F$2:$F$8</c:f>
              <c:numCache>
                <c:formatCode>General</c:formatCode>
                <c:ptCount val="7"/>
                <c:pt idx="1">
                  <c:v>0.47</c:v>
                </c:pt>
                <c:pt idx="4">
                  <c:v>0.3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09"/>
          <c:min val="-0.296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B$2:$B$5</c:f>
              <c:numCache>
                <c:formatCode>General</c:formatCode>
                <c:ptCount val="4"/>
                <c:pt idx="0">
                  <c:v>3.49</c:v>
                </c:pt>
                <c:pt idx="1">
                  <c:v>1.53</c:v>
                </c:pt>
                <c:pt idx="2">
                  <c:v>2.86</c:v>
                </c:pt>
                <c:pt idx="3">
                  <c:v>1.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2.8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C$2:$C$5</c:f>
              <c:numCache>
                <c:formatCode>General</c:formatCode>
                <c:ptCount val="4"/>
                <c:pt idx="2">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D$2:$D$5</c:f>
              <c:numCache>
                <c:formatCode>General</c:formatCode>
                <c:ptCount val="4"/>
                <c:pt idx="0">
                  <c:v>3.5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E$2:$E$5</c:f>
              <c:numCache>
                <c:formatCode>General</c:formatCode>
                <c:ptCount val="4"/>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F$2:$F$5</c:f>
              <c:numCache>
                <c:formatCode>General</c:formatCode>
                <c:ptCount val="4"/>
                <c:pt idx="3">
                  <c:v>1.6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692"/>
          <c:min val="1.032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0.64</c:v>
                </c:pt>
                <c:pt idx="1">
                  <c:v>1.01</c:v>
                </c:pt>
                <c:pt idx="2">
                  <c:v>2.15</c:v>
                </c:pt>
                <c:pt idx="3">
                  <c:v>0.06</c:v>
                </c:pt>
                <c:pt idx="4">
                  <c:v>0.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0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0.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4">
                  <c:v>0.6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pt idx="3">
                  <c:v>0.0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03"/>
          <c:min val="-0.44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1</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1</a:t>
                    </a:r>
                  </a:p>
                  <a:p>
                    <a:r>
                      <a:t>0.8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1</c:v>
                </c:pt>
              </c:strCache>
            </c:strRef>
          </c:cat>
          <c:val>
            <c:numRef>
              <c:f>Sheet1!$C$2:$C$3</c:f>
              <c:numCache>
                <c:formatCode>General</c:formatCode>
                <c:ptCount val="2"/>
                <c:pt idx="1">
                  <c:v>0.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1</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1</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01</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0</c:v>
                </c:pt>
                <c:pt idx="1">
                  <c:v/>
                </c:pt>
                <c:pt idx="2">
                  <c:v/>
                </c:pt>
                <c:pt idx="3">
                  <c:v/>
                </c:pt>
                <c:pt idx="4">
                  <c:v/>
                </c:pt>
              </c:strCache>
            </c:strRef>
          </c:cat>
          <c:val>
            <c:numRef>
              <c:f>Sheet1!$B$2:$B$6</c:f>
              <c:numCache>
                <c:formatCode>General</c:formatCode>
                <c:ptCount val="5"/>
                <c:pt idx="0">
                  <c:v>0.64</c:v>
                </c:pt>
                <c:pt idx="1">
                  <c:v>1.01</c:v>
                </c:pt>
                <c:pt idx="2">
                  <c:v>2.15</c:v>
                </c:pt>
                <c:pt idx="3">
                  <c:v>0.06</c:v>
                </c:pt>
                <c:pt idx="4">
                  <c:v>0.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0</a:t>
                    </a:r>
                  </a:p>
                  <a:p>
                    <a:r>
                      <a:t>0.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0</c:v>
                </c:pt>
                <c:pt idx="1">
                  <c:v/>
                </c:pt>
                <c:pt idx="2">
                  <c:v/>
                </c:pt>
                <c:pt idx="3">
                  <c:v/>
                </c:pt>
                <c:pt idx="4">
                  <c:v/>
                </c:pt>
              </c:strCache>
            </c:strRef>
          </c:cat>
          <c:val>
            <c:numRef>
              <c:f>Sheet1!$C$2:$C$6</c:f>
              <c:numCache>
                <c:formatCode>General</c:formatCode>
                <c:ptCount val="5"/>
                <c:pt idx="0">
                  <c:v>0.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Sensor 2</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0</c:v>
                </c:pt>
                <c:pt idx="1">
                  <c:v/>
                </c:pt>
                <c:pt idx="2">
                  <c:v/>
                </c:pt>
                <c:pt idx="3">
                  <c:v/>
                </c:pt>
                <c:pt idx="4">
                  <c:v/>
                </c:pt>
              </c:strCache>
            </c:strRef>
          </c:cat>
          <c:val>
            <c:numRef>
              <c:f>Sheet1!$D$2:$D$6</c:f>
              <c:numCache>
                <c:formatCode>General</c:formatCode>
                <c:ptCount val="5"/>
                <c:pt idx="0">
                  <c:v>0.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Easyrins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0</c:v>
                </c:pt>
                <c:pt idx="1">
                  <c:v/>
                </c:pt>
                <c:pt idx="2">
                  <c:v/>
                </c:pt>
                <c:pt idx="3">
                  <c:v/>
                </c:pt>
                <c:pt idx="4">
                  <c:v/>
                </c:pt>
              </c:strCache>
            </c:strRef>
          </c:cat>
          <c:val>
            <c:numRef>
              <c:f>Sheet1!$E$2:$E$6</c:f>
              <c:numCache>
                <c:formatCode>General</c:formatCode>
                <c:ptCount val="5"/>
                <c:pt idx="4">
                  <c:v>0.6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0</c:v>
                </c:pt>
                <c:pt idx="1">
                  <c:v/>
                </c:pt>
                <c:pt idx="2">
                  <c:v/>
                </c:pt>
                <c:pt idx="3">
                  <c:v/>
                </c:pt>
                <c:pt idx="4">
                  <c:v/>
                </c:pt>
              </c:strCache>
            </c:strRef>
          </c:cat>
          <c:val>
            <c:numRef>
              <c:f>Sheet1!$F$2:$F$6</c:f>
              <c:numCache>
                <c:formatCode>General</c:formatCode>
                <c:ptCount val="5"/>
                <c:pt idx="3">
                  <c:v>0.0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03"/>
          <c:min val="-0.44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47</c:v>
                </c:pt>
                <c:pt idx="1">
                  <c:v/>
                </c:pt>
                <c:pt idx="2">
                  <c:v/>
                </c:pt>
                <c:pt idx="3">
                  <c:v/>
                </c:pt>
                <c:pt idx="4">
                  <c:v>IX 11</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7</a:t>
                    </a:r>
                  </a:p>
                  <a:p>
                    <a:r>
                      <a:t>8.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a:t>
                    </a:r>
                  </a:p>
                  <a:p>
                    <a:r>
                      <a:t>3.37</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47</c:v>
                </c:pt>
                <c:pt idx="1">
                  <c:v/>
                </c:pt>
                <c:pt idx="2">
                  <c:v/>
                </c:pt>
                <c:pt idx="3">
                  <c:v/>
                </c:pt>
                <c:pt idx="4">
                  <c:v>IX 11</c:v>
                </c:pt>
                <c:pt idx="5">
                  <c:v/>
                </c:pt>
                <c:pt idx="6">
                  <c:v/>
                </c:pt>
              </c:strCache>
            </c:strRef>
          </c:cat>
          <c:val>
            <c:numRef>
              <c:f>Sheet1!$C$2:$C$8</c:f>
              <c:numCache>
                <c:formatCode>General</c:formatCode>
                <c:ptCount val="7"/>
                <c:pt idx="0">
                  <c:v>8.4</c:v>
                </c:pt>
                <c:pt idx="4">
                  <c:v>3.3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47</c:v>
                </c:pt>
                <c:pt idx="1">
                  <c:v/>
                </c:pt>
                <c:pt idx="2">
                  <c:v/>
                </c:pt>
                <c:pt idx="3">
                  <c:v/>
                </c:pt>
                <c:pt idx="4">
                  <c:v>IX 11</c:v>
                </c:pt>
                <c:pt idx="5">
                  <c:v/>
                </c:pt>
                <c:pt idx="6">
                  <c:v/>
                </c:pt>
              </c:strCache>
            </c:strRef>
          </c:cat>
          <c:val>
            <c:numRef>
              <c:f>Sheet1!$D$2:$D$8</c:f>
              <c:numCache>
                <c:formatCode>General</c:formatCode>
                <c:ptCount val="7"/>
                <c:pt idx="0">
                  <c:v>5.71</c:v>
                </c:pt>
                <c:pt idx="4">
                  <c:v>29.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47</c:v>
                </c:pt>
                <c:pt idx="1">
                  <c:v/>
                </c:pt>
                <c:pt idx="2">
                  <c:v/>
                </c:pt>
                <c:pt idx="3">
                  <c:v/>
                </c:pt>
                <c:pt idx="4">
                  <c:v>IX 11</c:v>
                </c:pt>
                <c:pt idx="5">
                  <c:v/>
                </c:pt>
                <c:pt idx="6">
                  <c:v/>
                </c:pt>
              </c:strCache>
            </c:strRef>
          </c:cat>
          <c:val>
            <c:numRef>
              <c:f>Sheet1!$E$2:$E$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47</c:v>
                </c:pt>
                <c:pt idx="1">
                  <c:v/>
                </c:pt>
                <c:pt idx="2">
                  <c:v/>
                </c:pt>
                <c:pt idx="3">
                  <c:v/>
                </c:pt>
                <c:pt idx="4">
                  <c:v>IX 11</c:v>
                </c:pt>
                <c:pt idx="5">
                  <c:v/>
                </c:pt>
                <c:pt idx="6">
                  <c:v/>
                </c:pt>
              </c:strCache>
            </c:strRef>
          </c:cat>
          <c:val>
            <c:numRef>
              <c:f>Sheet1!$F$2:$F$8</c:f>
              <c:numCache>
                <c:formatCode>General</c:formatCode>
                <c:ptCount val="7"/>
                <c:pt idx="1">
                  <c:v>3.95</c:v>
                </c:pt>
                <c:pt idx="4">
                  <c:v>2.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24"/>
          <c:min val="1.64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IX 10</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8</a:t>
                    </a:r>
                  </a:p>
                  <a:p>
                    <a:r>
                      <a:t>3.3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a:t>
                    </a:r>
                  </a:p>
                  <a:p>
                    <a:r>
                      <a:t>2.8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IX 10</c:v>
                </c:pt>
                <c:pt idx="5">
                  <c:v/>
                </c:pt>
                <c:pt idx="6">
                  <c:v/>
                </c:pt>
              </c:strCache>
            </c:strRef>
          </c:cat>
          <c:val>
            <c:numRef>
              <c:f>Sheet1!$C$2:$C$8</c:f>
              <c:numCache>
                <c:formatCode>General</c:formatCode>
                <c:ptCount val="7"/>
                <c:pt idx="0">
                  <c:v>3.32</c:v>
                </c:pt>
                <c:pt idx="4">
                  <c:v>2.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IX 10</c:v>
                </c:pt>
                <c:pt idx="5">
                  <c:v/>
                </c:pt>
                <c:pt idx="6">
                  <c:v/>
                </c:pt>
              </c:strCache>
            </c:strRef>
          </c:cat>
          <c:val>
            <c:numRef>
              <c:f>Sheet1!$D$2:$D$8</c:f>
              <c:numCache>
                <c:formatCode>General</c:formatCode>
                <c:ptCount val="7"/>
                <c:pt idx="0">
                  <c:v>5.71</c:v>
                </c:pt>
                <c:pt idx="4">
                  <c:v>29.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IX 10</c:v>
                </c:pt>
                <c:pt idx="5">
                  <c:v/>
                </c:pt>
                <c:pt idx="6">
                  <c:v/>
                </c:pt>
              </c:strCache>
            </c:strRef>
          </c:cat>
          <c:val>
            <c:numRef>
              <c:f>Sheet1!$E$2:$E$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IX 10</c:v>
                </c:pt>
                <c:pt idx="5">
                  <c:v/>
                </c:pt>
                <c:pt idx="6">
                  <c:v/>
                </c:pt>
              </c:strCache>
            </c:strRef>
          </c:cat>
          <c:val>
            <c:numRef>
              <c:f>Sheet1!$F$2:$F$8</c:f>
              <c:numCache>
                <c:formatCode>General</c:formatCode>
                <c:ptCount val="7"/>
                <c:pt idx="1">
                  <c:v>3.95</c:v>
                </c:pt>
                <c:pt idx="4">
                  <c:v>2.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24"/>
          <c:min val="1.64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64</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64</a:t>
                    </a:r>
                  </a:p>
                  <a:p>
                    <a:r>
                      <a:t>1.88</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64</c:v>
                </c:pt>
              </c:strCache>
            </c:strRef>
          </c:cat>
          <c:val>
            <c:numRef>
              <c:f>Sheet1!$C$2:$C$8</c:f>
              <c:numCache>
                <c:formatCode>General</c:formatCode>
                <c:ptCount val="7"/>
                <c:pt idx="6">
                  <c:v>1.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64</c:v>
                </c:pt>
              </c:strCache>
            </c:strRef>
          </c:cat>
          <c:val>
            <c:numRef>
              <c:f>Sheet1!$D$2:$D$8</c:f>
              <c:numCache>
                <c:formatCode>General</c:formatCode>
                <c:ptCount val="7"/>
                <c:pt idx="0">
                  <c:v>5.71</c:v>
                </c:pt>
                <c:pt idx="4">
                  <c:v>29.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64</c:v>
                </c:pt>
              </c:strCache>
            </c:strRef>
          </c:cat>
          <c:val>
            <c:numRef>
              <c:f>Sheet1!$E$2:$E$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
                </c:pt>
                <c:pt idx="6">
                  <c:v>IX 64</c:v>
                </c:pt>
              </c:strCache>
            </c:strRef>
          </c:cat>
          <c:val>
            <c:numRef>
              <c:f>Sheet1!$F$2:$F$8</c:f>
              <c:numCache>
                <c:formatCode>General</c:formatCode>
                <c:ptCount val="7"/>
                <c:pt idx="1">
                  <c:v>3.95</c:v>
                </c:pt>
                <c:pt idx="4">
                  <c:v>2.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24"/>
          <c:min val="1.376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3</c:v>
                </c:pt>
                <c:pt idx="2">
                  <c:v/>
                </c:pt>
                <c:pt idx="3">
                  <c:v/>
                </c:pt>
                <c:pt idx="4">
                  <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3</a:t>
                    </a:r>
                  </a:p>
                  <a:p>
                    <a:r>
                      <a:t>2.4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3</c:v>
                </c:pt>
                <c:pt idx="2">
                  <c:v/>
                </c:pt>
                <c:pt idx="3">
                  <c:v/>
                </c:pt>
                <c:pt idx="4">
                  <c:v/>
                </c:pt>
                <c:pt idx="5">
                  <c:v/>
                </c:pt>
                <c:pt idx="6">
                  <c:v/>
                </c:pt>
              </c:strCache>
            </c:strRef>
          </c:cat>
          <c:val>
            <c:numRef>
              <c:f>Sheet1!$C$2:$C$8</c:f>
              <c:numCache>
                <c:formatCode>General</c:formatCode>
                <c:ptCount val="7"/>
                <c:pt idx="1">
                  <c:v>2.4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3</c:v>
                </c:pt>
                <c:pt idx="2">
                  <c:v/>
                </c:pt>
                <c:pt idx="3">
                  <c:v/>
                </c:pt>
                <c:pt idx="4">
                  <c:v/>
                </c:pt>
                <c:pt idx="5">
                  <c:v/>
                </c:pt>
                <c:pt idx="6">
                  <c:v/>
                </c:pt>
              </c:strCache>
            </c:strRef>
          </c:cat>
          <c:val>
            <c:numRef>
              <c:f>Sheet1!$D$2:$D$8</c:f>
              <c:numCache>
                <c:formatCode>General</c:formatCode>
                <c:ptCount val="7"/>
                <c:pt idx="0">
                  <c:v>5.71</c:v>
                </c:pt>
                <c:pt idx="4">
                  <c:v>29.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3</c:v>
                </c:pt>
                <c:pt idx="2">
                  <c:v/>
                </c:pt>
                <c:pt idx="3">
                  <c:v/>
                </c:pt>
                <c:pt idx="4">
                  <c:v/>
                </c:pt>
                <c:pt idx="5">
                  <c:v/>
                </c:pt>
                <c:pt idx="6">
                  <c:v/>
                </c:pt>
              </c:strCache>
            </c:strRef>
          </c:cat>
          <c:val>
            <c:numRef>
              <c:f>Sheet1!$E$2:$E$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63</c:v>
                </c:pt>
                <c:pt idx="2">
                  <c:v/>
                </c:pt>
                <c:pt idx="3">
                  <c:v/>
                </c:pt>
                <c:pt idx="4">
                  <c:v/>
                </c:pt>
                <c:pt idx="5">
                  <c:v/>
                </c:pt>
                <c:pt idx="6">
                  <c:v/>
                </c:pt>
              </c:strCache>
            </c:strRef>
          </c:cat>
          <c:val>
            <c:numRef>
              <c:f>Sheet1!$F$2:$F$8</c:f>
              <c:numCache>
                <c:formatCode>General</c:formatCode>
                <c:ptCount val="7"/>
                <c:pt idx="1">
                  <c:v>3.95</c:v>
                </c:pt>
                <c:pt idx="4">
                  <c:v>2.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24"/>
          <c:min val="1.64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90</c:v>
                </c:pt>
                <c:pt idx="2">
                  <c:v/>
                </c:pt>
                <c:pt idx="3">
                  <c:v/>
                </c:pt>
                <c:pt idx="4">
                  <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0</a:t>
                    </a:r>
                  </a:p>
                  <a:p>
                    <a:r>
                      <a:t>3.5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90</c:v>
                </c:pt>
                <c:pt idx="2">
                  <c:v/>
                </c:pt>
                <c:pt idx="3">
                  <c:v/>
                </c:pt>
                <c:pt idx="4">
                  <c:v/>
                </c:pt>
                <c:pt idx="5">
                  <c:v/>
                </c:pt>
                <c:pt idx="6">
                  <c:v/>
                </c:pt>
              </c:strCache>
            </c:strRef>
          </c:cat>
          <c:val>
            <c:numRef>
              <c:f>Sheet1!$C$2:$C$8</c:f>
              <c:numCache>
                <c:formatCode>General</c:formatCode>
                <c:ptCount val="7"/>
                <c:pt idx="1">
                  <c:v>3.5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90</c:v>
                </c:pt>
                <c:pt idx="2">
                  <c:v/>
                </c:pt>
                <c:pt idx="3">
                  <c:v/>
                </c:pt>
                <c:pt idx="4">
                  <c:v/>
                </c:pt>
                <c:pt idx="5">
                  <c:v/>
                </c:pt>
                <c:pt idx="6">
                  <c:v/>
                </c:pt>
              </c:strCache>
            </c:strRef>
          </c:cat>
          <c:val>
            <c:numRef>
              <c:f>Sheet1!$D$2:$D$8</c:f>
              <c:numCache>
                <c:formatCode>General</c:formatCode>
                <c:ptCount val="7"/>
                <c:pt idx="0">
                  <c:v>5.71</c:v>
                </c:pt>
                <c:pt idx="4">
                  <c:v>29.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90</c:v>
                </c:pt>
                <c:pt idx="2">
                  <c:v/>
                </c:pt>
                <c:pt idx="3">
                  <c:v/>
                </c:pt>
                <c:pt idx="4">
                  <c:v/>
                </c:pt>
                <c:pt idx="5">
                  <c:v/>
                </c:pt>
                <c:pt idx="6">
                  <c:v/>
                </c:pt>
              </c:strCache>
            </c:strRef>
          </c:cat>
          <c:val>
            <c:numRef>
              <c:f>Sheet1!$E$2:$E$8</c:f>
              <c:numCache>
                <c:formatCode>General</c:formatCode>
                <c:ptCount val="7"/>
                <c:pt idx="1">
                  <c:v>3.95</c:v>
                </c:pt>
                <c:pt idx="4">
                  <c:v>2.1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90</c:v>
                </c:pt>
                <c:pt idx="2">
                  <c:v/>
                </c:pt>
                <c:pt idx="3">
                  <c:v/>
                </c:pt>
                <c:pt idx="4">
                  <c:v/>
                </c:pt>
                <c:pt idx="5">
                  <c:v/>
                </c:pt>
                <c:pt idx="6">
                  <c:v/>
                </c:pt>
              </c:strCache>
            </c:strRef>
          </c:cat>
          <c:val>
            <c:numRef>
              <c:f>Sheet1!$F$2:$F$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24"/>
          <c:min val="1.64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4</c:v>
                </c:pt>
                <c:pt idx="1">
                  <c:v/>
                </c:pt>
                <c:pt idx="2">
                  <c:v/>
                </c:pt>
                <c:pt idx="3">
                  <c:v/>
                </c:pt>
                <c:pt idx="4">
                  <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4</a:t>
                    </a:r>
                  </a:p>
                  <a:p>
                    <a:r>
                      <a:t>4.2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4</c:v>
                </c:pt>
                <c:pt idx="1">
                  <c:v/>
                </c:pt>
                <c:pt idx="2">
                  <c:v/>
                </c:pt>
                <c:pt idx="3">
                  <c:v/>
                </c:pt>
                <c:pt idx="4">
                  <c:v/>
                </c:pt>
                <c:pt idx="5">
                  <c:v/>
                </c:pt>
                <c:pt idx="6">
                  <c:v/>
                </c:pt>
              </c:strCache>
            </c:strRef>
          </c:cat>
          <c:val>
            <c:numRef>
              <c:f>Sheet1!$C$2:$C$8</c:f>
              <c:numCache>
                <c:formatCode>General</c:formatCode>
                <c:ptCount val="7"/>
                <c:pt idx="0">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4</c:v>
                </c:pt>
                <c:pt idx="1">
                  <c:v/>
                </c:pt>
                <c:pt idx="2">
                  <c:v/>
                </c:pt>
                <c:pt idx="3">
                  <c:v/>
                </c:pt>
                <c:pt idx="4">
                  <c:v/>
                </c:pt>
                <c:pt idx="5">
                  <c:v/>
                </c:pt>
                <c:pt idx="6">
                  <c:v/>
                </c:pt>
              </c:strCache>
            </c:strRef>
          </c:cat>
          <c:val>
            <c:numRef>
              <c:f>Sheet1!$D$2:$D$8</c:f>
              <c:numCache>
                <c:formatCode>General</c:formatCode>
                <c:ptCount val="7"/>
                <c:pt idx="0">
                  <c:v>5.71</c:v>
                </c:pt>
                <c:pt idx="4">
                  <c:v>29.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4</c:v>
                </c:pt>
                <c:pt idx="1">
                  <c:v/>
                </c:pt>
                <c:pt idx="2">
                  <c:v/>
                </c:pt>
                <c:pt idx="3">
                  <c:v/>
                </c:pt>
                <c:pt idx="4">
                  <c:v/>
                </c:pt>
                <c:pt idx="5">
                  <c:v/>
                </c:pt>
                <c:pt idx="6">
                  <c:v/>
                </c:pt>
              </c:strCache>
            </c:strRef>
          </c:cat>
          <c:val>
            <c:numRef>
              <c:f>Sheet1!$E$2:$E$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4</c:v>
                </c:pt>
                <c:pt idx="1">
                  <c:v/>
                </c:pt>
                <c:pt idx="2">
                  <c:v/>
                </c:pt>
                <c:pt idx="3">
                  <c:v/>
                </c:pt>
                <c:pt idx="4">
                  <c:v/>
                </c:pt>
                <c:pt idx="5">
                  <c:v/>
                </c:pt>
                <c:pt idx="6">
                  <c:v/>
                </c:pt>
              </c:strCache>
            </c:strRef>
          </c:cat>
          <c:val>
            <c:numRef>
              <c:f>Sheet1!$F$2:$F$8</c:f>
              <c:numCache>
                <c:formatCode>General</c:formatCode>
                <c:ptCount val="7"/>
                <c:pt idx="1">
                  <c:v>3.95</c:v>
                </c:pt>
                <c:pt idx="4">
                  <c:v>2.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24"/>
          <c:min val="1.64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7</c:v>
                </c:pt>
                <c:pt idx="1">
                  <c:v/>
                </c:pt>
                <c:pt idx="2">
                  <c:v/>
                </c:pt>
                <c:pt idx="3">
                  <c:v/>
                </c:pt>
                <c:pt idx="4">
                  <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7</a:t>
                    </a:r>
                  </a:p>
                  <a:p>
                    <a:r>
                      <a:t>2.7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7</c:v>
                </c:pt>
                <c:pt idx="1">
                  <c:v/>
                </c:pt>
                <c:pt idx="2">
                  <c:v/>
                </c:pt>
                <c:pt idx="3">
                  <c:v/>
                </c:pt>
                <c:pt idx="4">
                  <c:v/>
                </c:pt>
                <c:pt idx="5">
                  <c:v/>
                </c:pt>
                <c:pt idx="6">
                  <c:v/>
                </c:pt>
              </c:strCache>
            </c:strRef>
          </c:cat>
          <c:val>
            <c:numRef>
              <c:f>Sheet1!$C$2:$C$8</c:f>
              <c:numCache>
                <c:formatCode>General</c:formatCode>
                <c:ptCount val="7"/>
                <c:pt idx="0">
                  <c:v>2.7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7</c:v>
                </c:pt>
                <c:pt idx="1">
                  <c:v/>
                </c:pt>
                <c:pt idx="2">
                  <c:v/>
                </c:pt>
                <c:pt idx="3">
                  <c:v/>
                </c:pt>
                <c:pt idx="4">
                  <c:v/>
                </c:pt>
                <c:pt idx="5">
                  <c:v/>
                </c:pt>
                <c:pt idx="6">
                  <c:v/>
                </c:pt>
              </c:strCache>
            </c:strRef>
          </c:cat>
          <c:val>
            <c:numRef>
              <c:f>Sheet1!$D$2:$D$8</c:f>
              <c:numCache>
                <c:formatCode>General</c:formatCode>
                <c:ptCount val="7"/>
                <c:pt idx="0">
                  <c:v>5.71</c:v>
                </c:pt>
                <c:pt idx="4">
                  <c:v>29.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7</c:v>
                </c:pt>
                <c:pt idx="1">
                  <c:v/>
                </c:pt>
                <c:pt idx="2">
                  <c:v/>
                </c:pt>
                <c:pt idx="3">
                  <c:v/>
                </c:pt>
                <c:pt idx="4">
                  <c:v/>
                </c:pt>
                <c:pt idx="5">
                  <c:v/>
                </c:pt>
                <c:pt idx="6">
                  <c:v/>
                </c:pt>
              </c:strCache>
            </c:strRef>
          </c:cat>
          <c:val>
            <c:numRef>
              <c:f>Sheet1!$E$2:$E$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7</c:v>
                </c:pt>
                <c:pt idx="1">
                  <c:v/>
                </c:pt>
                <c:pt idx="2">
                  <c:v/>
                </c:pt>
                <c:pt idx="3">
                  <c:v/>
                </c:pt>
                <c:pt idx="4">
                  <c:v/>
                </c:pt>
                <c:pt idx="5">
                  <c:v/>
                </c:pt>
                <c:pt idx="6">
                  <c:v/>
                </c:pt>
              </c:strCache>
            </c:strRef>
          </c:cat>
          <c:val>
            <c:numRef>
              <c:f>Sheet1!$F$2:$F$8</c:f>
              <c:numCache>
                <c:formatCode>General</c:formatCode>
                <c:ptCount val="7"/>
                <c:pt idx="1">
                  <c:v>3.95</c:v>
                </c:pt>
                <c:pt idx="4">
                  <c:v>2.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24"/>
          <c:min val="1.64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9</c:v>
                </c:pt>
                <c:pt idx="2">
                  <c:v/>
                </c:pt>
                <c:pt idx="3">
                  <c:v/>
                </c:pt>
                <c:pt idx="4">
                  <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9</a:t>
                    </a:r>
                  </a:p>
                  <a:p>
                    <a:r>
                      <a:t>1.1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9</c:v>
                </c:pt>
                <c:pt idx="2">
                  <c:v/>
                </c:pt>
                <c:pt idx="3">
                  <c:v/>
                </c:pt>
                <c:pt idx="4">
                  <c:v/>
                </c:pt>
                <c:pt idx="5">
                  <c:v/>
                </c:pt>
                <c:pt idx="6">
                  <c:v/>
                </c:pt>
              </c:strCache>
            </c:strRef>
          </c:cat>
          <c:val>
            <c:numRef>
              <c:f>Sheet1!$C$2:$C$8</c:f>
              <c:numCache>
                <c:formatCode>General</c:formatCode>
                <c:ptCount val="7"/>
                <c:pt idx="1">
                  <c:v>1.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9</c:v>
                </c:pt>
                <c:pt idx="2">
                  <c:v/>
                </c:pt>
                <c:pt idx="3">
                  <c:v/>
                </c:pt>
                <c:pt idx="4">
                  <c:v/>
                </c:pt>
                <c:pt idx="5">
                  <c:v/>
                </c:pt>
                <c:pt idx="6">
                  <c:v/>
                </c:pt>
              </c:strCache>
            </c:strRef>
          </c:cat>
          <c:val>
            <c:numRef>
              <c:f>Sheet1!$D$2:$D$8</c:f>
              <c:numCache>
                <c:formatCode>General</c:formatCode>
                <c:ptCount val="7"/>
                <c:pt idx="0">
                  <c:v>5.71</c:v>
                </c:pt>
                <c:pt idx="4">
                  <c:v>29.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9</c:v>
                </c:pt>
                <c:pt idx="2">
                  <c:v/>
                </c:pt>
                <c:pt idx="3">
                  <c:v/>
                </c:pt>
                <c:pt idx="4">
                  <c:v/>
                </c:pt>
                <c:pt idx="5">
                  <c:v/>
                </c:pt>
                <c:pt idx="6">
                  <c:v/>
                </c:pt>
              </c:strCache>
            </c:strRef>
          </c:cat>
          <c:val>
            <c:numRef>
              <c:f>Sheet1!$E$2:$E$8</c:f>
              <c:numCache>
                <c:formatCode>General</c:formatCode>
                <c:ptCount val="7"/>
                <c:pt idx="1">
                  <c:v>3.95</c:v>
                </c:pt>
                <c:pt idx="4">
                  <c:v>2.1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29</c:v>
                </c:pt>
                <c:pt idx="2">
                  <c:v/>
                </c:pt>
                <c:pt idx="3">
                  <c:v/>
                </c:pt>
                <c:pt idx="4">
                  <c:v/>
                </c:pt>
                <c:pt idx="5">
                  <c:v/>
                </c:pt>
                <c:pt idx="6">
                  <c:v/>
                </c:pt>
              </c:strCache>
            </c:strRef>
          </c:cat>
          <c:val>
            <c:numRef>
              <c:f>Sheet1!$F$2:$F$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24"/>
          <c:min val="0.649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6</c:v>
                </c:pt>
                <c:pt idx="2">
                  <c:v/>
                </c:pt>
                <c:pt idx="3">
                  <c:v/>
                </c:pt>
                <c:pt idx="4">
                  <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76</a:t>
                    </a:r>
                  </a:p>
                  <a:p>
                    <a:r>
                      <a:t>3.0</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6</c:v>
                </c:pt>
                <c:pt idx="2">
                  <c:v/>
                </c:pt>
                <c:pt idx="3">
                  <c:v/>
                </c:pt>
                <c:pt idx="4">
                  <c:v/>
                </c:pt>
                <c:pt idx="5">
                  <c:v/>
                </c:pt>
                <c:pt idx="6">
                  <c:v/>
                </c:pt>
              </c:strCache>
            </c:strRef>
          </c:cat>
          <c:val>
            <c:numRef>
              <c:f>Sheet1!$C$2:$C$8</c:f>
              <c:numCache>
                <c:formatCode>General</c:formatCode>
                <c:ptCount val="7"/>
                <c:pt idx="1">
                  <c:v>3.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6</c:v>
                </c:pt>
                <c:pt idx="2">
                  <c:v/>
                </c:pt>
                <c:pt idx="3">
                  <c:v/>
                </c:pt>
                <c:pt idx="4">
                  <c:v/>
                </c:pt>
                <c:pt idx="5">
                  <c:v/>
                </c:pt>
                <c:pt idx="6">
                  <c:v/>
                </c:pt>
              </c:strCache>
            </c:strRef>
          </c:cat>
          <c:val>
            <c:numRef>
              <c:f>Sheet1!$D$2:$D$8</c:f>
              <c:numCache>
                <c:formatCode>General</c:formatCode>
                <c:ptCount val="7"/>
                <c:pt idx="0">
                  <c:v>5.71</c:v>
                </c:pt>
                <c:pt idx="4">
                  <c:v>29.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6</c:v>
                </c:pt>
                <c:pt idx="2">
                  <c:v/>
                </c:pt>
                <c:pt idx="3">
                  <c:v/>
                </c:pt>
                <c:pt idx="4">
                  <c:v/>
                </c:pt>
                <c:pt idx="5">
                  <c:v/>
                </c:pt>
                <c:pt idx="6">
                  <c:v/>
                </c:pt>
              </c:strCache>
            </c:strRef>
          </c:cat>
          <c:val>
            <c:numRef>
              <c:f>Sheet1!$E$2:$E$8</c:f>
              <c:numCache>
                <c:formatCode>General</c:formatCode>
                <c:ptCount val="7"/>
                <c:pt idx="1">
                  <c:v>3.95</c:v>
                </c:pt>
                <c:pt idx="4">
                  <c:v>2.1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6</c:v>
                </c:pt>
                <c:pt idx="2">
                  <c:v/>
                </c:pt>
                <c:pt idx="3">
                  <c:v/>
                </c:pt>
                <c:pt idx="4">
                  <c:v/>
                </c:pt>
                <c:pt idx="5">
                  <c:v/>
                </c:pt>
                <c:pt idx="6">
                  <c:v/>
                </c:pt>
              </c:strCache>
            </c:strRef>
          </c:cat>
          <c:val>
            <c:numRef>
              <c:f>Sheet1!$F$2:$F$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24"/>
          <c:min val="1.64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a:t>
                    </a:r>
                  </a:p>
                  <a:p>
                    <a:r>
                      <a:t>0.5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
                </c:pt>
              </c:strCache>
            </c:strRef>
          </c:cat>
          <c:val>
            <c:numRef>
              <c:f>Sheet1!$C$2:$C$3</c:f>
              <c:numCache>
                <c:formatCode>General</c:formatCode>
                <c:ptCount val="2"/>
                <c:pt idx="0">
                  <c:v>0.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0142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4</c:v>
                </c:pt>
                <c:pt idx="1">
                  <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4</a:t>
                    </a:r>
                  </a:p>
                  <a:p>
                    <a:r>
                      <a:t>3.4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4</c:v>
                </c:pt>
                <c:pt idx="1">
                  <c:v/>
                </c:pt>
                <c:pt idx="2">
                  <c:v/>
                </c:pt>
                <c:pt idx="3">
                  <c:v/>
                </c:pt>
                <c:pt idx="4">
                  <c:v/>
                </c:pt>
                <c:pt idx="5">
                  <c:v/>
                </c:pt>
                <c:pt idx="6">
                  <c:v/>
                </c:pt>
              </c:strCache>
            </c:strRef>
          </c:cat>
          <c:val>
            <c:numRef>
              <c:f>Sheet1!$C$2:$C$8</c:f>
              <c:numCache>
                <c:formatCode>General</c:formatCode>
                <c:ptCount val="7"/>
                <c:pt idx="0">
                  <c:v>3.4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4</c:v>
                </c:pt>
                <c:pt idx="1">
                  <c:v/>
                </c:pt>
                <c:pt idx="2">
                  <c:v/>
                </c:pt>
                <c:pt idx="3">
                  <c:v/>
                </c:pt>
                <c:pt idx="4">
                  <c:v/>
                </c:pt>
                <c:pt idx="5">
                  <c:v/>
                </c:pt>
                <c:pt idx="6">
                  <c:v/>
                </c:pt>
              </c:strCache>
            </c:strRef>
          </c:cat>
          <c:val>
            <c:numRef>
              <c:f>Sheet1!$D$2:$D$8</c:f>
              <c:numCache>
                <c:formatCode>General</c:formatCode>
                <c:ptCount val="7"/>
                <c:pt idx="0">
                  <c:v>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4</c:v>
                </c:pt>
                <c:pt idx="1">
                  <c:v/>
                </c:pt>
                <c:pt idx="2">
                  <c:v/>
                </c:pt>
                <c:pt idx="3">
                  <c:v/>
                </c:pt>
                <c:pt idx="4">
                  <c:v/>
                </c:pt>
                <c:pt idx="5">
                  <c:v/>
                </c:pt>
                <c:pt idx="6">
                  <c:v/>
                </c:pt>
              </c:strCache>
            </c:strRef>
          </c:cat>
          <c:val>
            <c:numRef>
              <c:f>Sheet1!$E$2:$E$8</c:f>
              <c:numCache>
                <c:formatCode>General</c:formatCode>
                <c:ptCount val="7"/>
                <c:pt idx="2">
                  <c:v>2.22</c:v>
                </c:pt>
                <c:pt idx="4">
                  <c:v>1.2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ch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4</c:v>
                </c:pt>
                <c:pt idx="1">
                  <c:v/>
                </c:pt>
                <c:pt idx="2">
                  <c:v/>
                </c:pt>
                <c:pt idx="3">
                  <c:v/>
                </c:pt>
                <c:pt idx="4">
                  <c:v/>
                </c:pt>
                <c:pt idx="5">
                  <c:v/>
                </c:pt>
                <c:pt idx="6">
                  <c:v/>
                </c:pt>
              </c:strCache>
            </c:strRef>
          </c:cat>
          <c:val>
            <c:numRef>
              <c:f>Sheet1!$F$2:$F$8</c:f>
              <c:numCache>
                <c:formatCode>General</c:formatCode>
                <c:ptCount val="7"/>
                <c:pt idx="1">
                  <c:v>2.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341"/>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8</a:t>
                    </a:r>
                  </a:p>
                  <a:p>
                    <a:r>
                      <a:t>2.3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
                </c:pt>
                <c:pt idx="5">
                  <c:v/>
                </c:pt>
                <c:pt idx="6">
                  <c:v/>
                </c:pt>
              </c:strCache>
            </c:strRef>
          </c:cat>
          <c:val>
            <c:numRef>
              <c:f>Sheet1!$C$2:$C$8</c:f>
              <c:numCache>
                <c:formatCode>General</c:formatCode>
                <c:ptCount val="7"/>
                <c:pt idx="0">
                  <c:v>2.3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
                </c:pt>
                <c:pt idx="5">
                  <c:v/>
                </c:pt>
                <c:pt idx="6">
                  <c:v/>
                </c:pt>
              </c:strCache>
            </c:strRef>
          </c:cat>
          <c:val>
            <c:numRef>
              <c:f>Sheet1!$D$2:$D$8</c:f>
              <c:numCache>
                <c:formatCode>General</c:formatCode>
                <c:ptCount val="7"/>
                <c:pt idx="0">
                  <c:v>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
                </c:pt>
                <c:pt idx="5">
                  <c:v/>
                </c:pt>
                <c:pt idx="6">
                  <c:v/>
                </c:pt>
              </c:strCache>
            </c:strRef>
          </c:cat>
          <c:val>
            <c:numRef>
              <c:f>Sheet1!$E$2:$E$8</c:f>
              <c:numCache>
                <c:formatCode>General</c:formatCode>
                <c:ptCount val="7"/>
                <c:pt idx="1">
                  <c:v>2.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8</c:v>
                </c:pt>
                <c:pt idx="1">
                  <c:v/>
                </c:pt>
                <c:pt idx="2">
                  <c:v/>
                </c:pt>
                <c:pt idx="3">
                  <c:v/>
                </c:pt>
                <c:pt idx="4">
                  <c:v/>
                </c:pt>
                <c:pt idx="5">
                  <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341"/>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83</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3</a:t>
                    </a:r>
                  </a:p>
                  <a:p>
                    <a:r>
                      <a:t>1.0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83</c:v>
                </c:pt>
                <c:pt idx="5">
                  <c:v/>
                </c:pt>
                <c:pt idx="6">
                  <c:v/>
                </c:pt>
              </c:strCache>
            </c:strRef>
          </c:cat>
          <c:val>
            <c:numRef>
              <c:f>Sheet1!$C$2:$C$8</c:f>
              <c:numCache>
                <c:formatCode>General</c:formatCode>
                <c:ptCount val="7"/>
                <c:pt idx="4">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83</c:v>
                </c:pt>
                <c:pt idx="5">
                  <c:v/>
                </c:pt>
                <c:pt idx="6">
                  <c:v/>
                </c:pt>
              </c:strCache>
            </c:strRef>
          </c:cat>
          <c:val>
            <c:numRef>
              <c:f>Sheet1!$D$2:$D$8</c:f>
              <c:numCache>
                <c:formatCode>General</c:formatCode>
                <c:ptCount val="7"/>
                <c:pt idx="0">
                  <c:v>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83</c:v>
                </c:pt>
                <c:pt idx="5">
                  <c:v/>
                </c:pt>
                <c:pt idx="6">
                  <c:v/>
                </c:pt>
              </c:strCache>
            </c:strRef>
          </c:cat>
          <c:val>
            <c:numRef>
              <c:f>Sheet1!$E$2:$E$8</c:f>
              <c:numCache>
                <c:formatCode>General</c:formatCode>
                <c:ptCount val="7"/>
                <c:pt idx="1">
                  <c:v>2.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IX 83</c:v>
                </c:pt>
                <c:pt idx="5">
                  <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341"/>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0</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70</a:t>
                    </a:r>
                  </a:p>
                  <a:p>
                    <a:r>
                      <a:t>1.9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0</c:v>
                </c:pt>
                <c:pt idx="2">
                  <c:v/>
                </c:pt>
                <c:pt idx="3">
                  <c:v/>
                </c:pt>
                <c:pt idx="4">
                  <c:v/>
                </c:pt>
                <c:pt idx="5">
                  <c:v/>
                </c:pt>
                <c:pt idx="6">
                  <c:v/>
                </c:pt>
              </c:strCache>
            </c:strRef>
          </c:cat>
          <c:val>
            <c:numRef>
              <c:f>Sheet1!$C$2:$C$8</c:f>
              <c:numCache>
                <c:formatCode>General</c:formatCode>
                <c:ptCount val="7"/>
                <c:pt idx="1">
                  <c:v>1.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0</c:v>
                </c:pt>
                <c:pt idx="2">
                  <c:v/>
                </c:pt>
                <c:pt idx="3">
                  <c:v/>
                </c:pt>
                <c:pt idx="4">
                  <c:v/>
                </c:pt>
                <c:pt idx="5">
                  <c:v/>
                </c:pt>
                <c:pt idx="6">
                  <c:v/>
                </c:pt>
              </c:strCache>
            </c:strRef>
          </c:cat>
          <c:val>
            <c:numRef>
              <c:f>Sheet1!$D$2:$D$8</c:f>
              <c:numCache>
                <c:formatCode>General</c:formatCode>
                <c:ptCount val="7"/>
                <c:pt idx="0">
                  <c:v>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0</c:v>
                </c:pt>
                <c:pt idx="2">
                  <c:v/>
                </c:pt>
                <c:pt idx="3">
                  <c:v/>
                </c:pt>
                <c:pt idx="4">
                  <c:v/>
                </c:pt>
                <c:pt idx="5">
                  <c:v/>
                </c:pt>
                <c:pt idx="6">
                  <c:v/>
                </c:pt>
              </c:strCache>
            </c:strRef>
          </c:cat>
          <c:val>
            <c:numRef>
              <c:f>Sheet1!$E$2:$E$8</c:f>
              <c:numCache>
                <c:formatCode>General</c:formatCode>
                <c:ptCount val="7"/>
                <c:pt idx="1">
                  <c:v>2.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70</c:v>
                </c:pt>
                <c:pt idx="2">
                  <c:v/>
                </c:pt>
                <c:pt idx="3">
                  <c:v/>
                </c:pt>
                <c:pt idx="4">
                  <c:v/>
                </c:pt>
                <c:pt idx="5">
                  <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341"/>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6</a:t>
                    </a:r>
                  </a:p>
                  <a:p>
                    <a:r>
                      <a:t>3.1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
                </c:pt>
                <c:pt idx="2">
                  <c:v/>
                </c:pt>
                <c:pt idx="3">
                  <c:v/>
                </c:pt>
                <c:pt idx="4">
                  <c:v/>
                </c:pt>
                <c:pt idx="5">
                  <c:v/>
                </c:pt>
                <c:pt idx="6">
                  <c:v/>
                </c:pt>
              </c:strCache>
            </c:strRef>
          </c:cat>
          <c:val>
            <c:numRef>
              <c:f>Sheet1!$C$2:$C$8</c:f>
              <c:numCache>
                <c:formatCode>General</c:formatCode>
                <c:ptCount val="7"/>
                <c:pt idx="0">
                  <c:v>3.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
                </c:pt>
                <c:pt idx="2">
                  <c:v/>
                </c:pt>
                <c:pt idx="3">
                  <c:v/>
                </c:pt>
                <c:pt idx="4">
                  <c:v/>
                </c:pt>
                <c:pt idx="5">
                  <c:v/>
                </c:pt>
                <c:pt idx="6">
                  <c:v/>
                </c:pt>
              </c:strCache>
            </c:strRef>
          </c:cat>
          <c:val>
            <c:numRef>
              <c:f>Sheet1!$D$2:$D$8</c:f>
              <c:numCache>
                <c:formatCode>General</c:formatCode>
                <c:ptCount val="7"/>
                <c:pt idx="0">
                  <c:v>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
                </c:pt>
                <c:pt idx="2">
                  <c:v/>
                </c:pt>
                <c:pt idx="3">
                  <c:v/>
                </c:pt>
                <c:pt idx="4">
                  <c:v/>
                </c:pt>
                <c:pt idx="5">
                  <c:v/>
                </c:pt>
                <c:pt idx="6">
                  <c:v/>
                </c:pt>
              </c:strCache>
            </c:strRef>
          </c:cat>
          <c:val>
            <c:numRef>
              <c:f>Sheet1!$E$2:$E$8</c:f>
              <c:numCache>
                <c:formatCode>General</c:formatCode>
                <c:ptCount val="7"/>
                <c:pt idx="1">
                  <c:v>2.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
                </c:pt>
                <c:pt idx="2">
                  <c:v/>
                </c:pt>
                <c:pt idx="3">
                  <c:v/>
                </c:pt>
                <c:pt idx="4">
                  <c:v/>
                </c:pt>
                <c:pt idx="5">
                  <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341"/>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0</a:t>
                    </a:r>
                  </a:p>
                  <a:p>
                    <a:r>
                      <a:t>0.85</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C$2:$C$8</c:f>
              <c:numCache>
                <c:formatCode>General</c:formatCode>
                <c:ptCount val="7"/>
                <c:pt idx="5">
                  <c:v>0.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D$2:$D$8</c:f>
              <c:numCache>
                <c:formatCode>General</c:formatCode>
                <c:ptCount val="7"/>
                <c:pt idx="0">
                  <c:v>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E$2:$E$8</c:f>
              <c:numCache>
                <c:formatCode>General</c:formatCode>
                <c:ptCount val="7"/>
                <c:pt idx="1">
                  <c:v>2.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
                </c:pt>
                <c:pt idx="2">
                  <c:v/>
                </c:pt>
                <c:pt idx="3">
                  <c:v/>
                </c:pt>
                <c:pt idx="4">
                  <c:v/>
                </c:pt>
                <c:pt idx="5">
                  <c:v>IX 100</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341"/>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3</c:v>
                </c:pt>
                <c:pt idx="1">
                  <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3</a:t>
                    </a:r>
                  </a:p>
                  <a:p>
                    <a:r>
                      <a:t>1.7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3</c:v>
                </c:pt>
                <c:pt idx="1">
                  <c:v/>
                </c:pt>
                <c:pt idx="2">
                  <c:v/>
                </c:pt>
                <c:pt idx="3">
                  <c:v/>
                </c:pt>
                <c:pt idx="4">
                  <c:v/>
                </c:pt>
                <c:pt idx="5">
                  <c:v/>
                </c:pt>
                <c:pt idx="6">
                  <c:v/>
                </c:pt>
              </c:strCache>
            </c:strRef>
          </c:cat>
          <c:val>
            <c:numRef>
              <c:f>Sheet1!$C$2:$C$8</c:f>
              <c:numCache>
                <c:formatCode>General</c:formatCode>
                <c:ptCount val="7"/>
                <c:pt idx="0">
                  <c:v>1.7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3</c:v>
                </c:pt>
                <c:pt idx="1">
                  <c:v/>
                </c:pt>
                <c:pt idx="2">
                  <c:v/>
                </c:pt>
                <c:pt idx="3">
                  <c:v/>
                </c:pt>
                <c:pt idx="4">
                  <c:v/>
                </c:pt>
                <c:pt idx="5">
                  <c:v/>
                </c:pt>
                <c:pt idx="6">
                  <c:v/>
                </c:pt>
              </c:strCache>
            </c:strRef>
          </c:cat>
          <c:val>
            <c:numRef>
              <c:f>Sheet1!$D$2:$D$8</c:f>
              <c:numCache>
                <c:formatCode>General</c:formatCode>
                <c:ptCount val="7"/>
                <c:pt idx="0">
                  <c:v>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3</c:v>
                </c:pt>
                <c:pt idx="1">
                  <c:v/>
                </c:pt>
                <c:pt idx="2">
                  <c:v/>
                </c:pt>
                <c:pt idx="3">
                  <c:v/>
                </c:pt>
                <c:pt idx="4">
                  <c:v/>
                </c:pt>
                <c:pt idx="5">
                  <c:v/>
                </c:pt>
                <c:pt idx="6">
                  <c:v/>
                </c:pt>
              </c:strCache>
            </c:strRef>
          </c:cat>
          <c:val>
            <c:numRef>
              <c:f>Sheet1!$E$2:$E$8</c:f>
              <c:numCache>
                <c:formatCode>General</c:formatCode>
                <c:ptCount val="7"/>
                <c:pt idx="1">
                  <c:v>2.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3</c:v>
                </c:pt>
                <c:pt idx="1">
                  <c:v/>
                </c:pt>
                <c:pt idx="2">
                  <c:v/>
                </c:pt>
                <c:pt idx="3">
                  <c:v/>
                </c:pt>
                <c:pt idx="4">
                  <c:v/>
                </c:pt>
                <c:pt idx="5">
                  <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341"/>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1</a:t>
                    </a:r>
                  </a:p>
                  <a:p>
                    <a:r>
                      <a:t>2.0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C$2:$C$8</c:f>
              <c:numCache>
                <c:formatCode>General</c:formatCode>
                <c:ptCount val="7"/>
                <c:pt idx="0">
                  <c:v>2.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D$2:$D$8</c:f>
              <c:numCache>
                <c:formatCode>General</c:formatCode>
                <c:ptCount val="7"/>
                <c:pt idx="0">
                  <c:v>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E$2:$E$8</c:f>
              <c:numCache>
                <c:formatCode>General</c:formatCode>
                <c:ptCount val="7"/>
                <c:pt idx="1">
                  <c:v>2.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
                </c:pt>
                <c:pt idx="2">
                  <c:v/>
                </c:pt>
                <c:pt idx="3">
                  <c:v/>
                </c:pt>
                <c:pt idx="4">
                  <c:v/>
                </c:pt>
                <c:pt idx="5">
                  <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341"/>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7</c:v>
                </c:pt>
                <c:pt idx="1">
                  <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7</a:t>
                    </a:r>
                  </a:p>
                  <a:p>
                    <a:r>
                      <a:t>1.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7</c:v>
                </c:pt>
                <c:pt idx="1">
                  <c:v/>
                </c:pt>
                <c:pt idx="2">
                  <c:v/>
                </c:pt>
                <c:pt idx="3">
                  <c:v/>
                </c:pt>
                <c:pt idx="4">
                  <c:v/>
                </c:pt>
                <c:pt idx="5">
                  <c:v/>
                </c:pt>
                <c:pt idx="6">
                  <c:v/>
                </c:pt>
              </c:strCache>
            </c:strRef>
          </c:cat>
          <c:val>
            <c:numRef>
              <c:f>Sheet1!$C$2:$C$8</c:f>
              <c:numCache>
                <c:formatCode>General</c:formatCode>
                <c:ptCount val="7"/>
                <c:pt idx="0">
                  <c:v>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7</c:v>
                </c:pt>
                <c:pt idx="1">
                  <c:v/>
                </c:pt>
                <c:pt idx="2">
                  <c:v/>
                </c:pt>
                <c:pt idx="3">
                  <c:v/>
                </c:pt>
                <c:pt idx="4">
                  <c:v/>
                </c:pt>
                <c:pt idx="5">
                  <c:v/>
                </c:pt>
                <c:pt idx="6">
                  <c:v/>
                </c:pt>
              </c:strCache>
            </c:strRef>
          </c:cat>
          <c:val>
            <c:numRef>
              <c:f>Sheet1!$D$2:$D$8</c:f>
              <c:numCache>
                <c:formatCode>General</c:formatCode>
                <c:ptCount val="7"/>
                <c:pt idx="0">
                  <c:v>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7</c:v>
                </c:pt>
                <c:pt idx="1">
                  <c:v/>
                </c:pt>
                <c:pt idx="2">
                  <c:v/>
                </c:pt>
                <c:pt idx="3">
                  <c:v/>
                </c:pt>
                <c:pt idx="4">
                  <c:v/>
                </c:pt>
                <c:pt idx="5">
                  <c:v/>
                </c:pt>
                <c:pt idx="6">
                  <c:v/>
                </c:pt>
              </c:strCache>
            </c:strRef>
          </c:cat>
          <c:val>
            <c:numRef>
              <c:f>Sheet1!$E$2:$E$8</c:f>
              <c:numCache>
                <c:formatCode>General</c:formatCode>
                <c:ptCount val="7"/>
                <c:pt idx="1">
                  <c:v>2.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27</c:v>
                </c:pt>
                <c:pt idx="1">
                  <c:v/>
                </c:pt>
                <c:pt idx="2">
                  <c:v/>
                </c:pt>
                <c:pt idx="3">
                  <c:v/>
                </c:pt>
                <c:pt idx="4">
                  <c:v/>
                </c:pt>
                <c:pt idx="5">
                  <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341"/>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46</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6</a:t>
                    </a:r>
                  </a:p>
                  <a:p>
                    <a:r>
                      <a:t>1.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46</c:v>
                </c:pt>
                <c:pt idx="2">
                  <c:v/>
                </c:pt>
                <c:pt idx="3">
                  <c:v/>
                </c:pt>
                <c:pt idx="4">
                  <c:v/>
                </c:pt>
                <c:pt idx="5">
                  <c:v/>
                </c:pt>
                <c:pt idx="6">
                  <c:v/>
                </c:pt>
              </c:strCache>
            </c:strRef>
          </c:cat>
          <c:val>
            <c:numRef>
              <c:f>Sheet1!$C$2:$C$8</c:f>
              <c:numCache>
                <c:formatCode>General</c:formatCode>
                <c:ptCount val="7"/>
                <c:pt idx="1">
                  <c:v>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46</c:v>
                </c:pt>
                <c:pt idx="2">
                  <c:v/>
                </c:pt>
                <c:pt idx="3">
                  <c:v/>
                </c:pt>
                <c:pt idx="4">
                  <c:v/>
                </c:pt>
                <c:pt idx="5">
                  <c:v/>
                </c:pt>
                <c:pt idx="6">
                  <c:v/>
                </c:pt>
              </c:strCache>
            </c:strRef>
          </c:cat>
          <c:val>
            <c:numRef>
              <c:f>Sheet1!$D$2:$D$8</c:f>
              <c:numCache>
                <c:formatCode>General</c:formatCode>
                <c:ptCount val="7"/>
                <c:pt idx="0">
                  <c:v>4.1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46</c:v>
                </c:pt>
                <c:pt idx="2">
                  <c:v/>
                </c:pt>
                <c:pt idx="3">
                  <c:v/>
                </c:pt>
                <c:pt idx="4">
                  <c:v/>
                </c:pt>
                <c:pt idx="5">
                  <c:v/>
                </c:pt>
                <c:pt idx="6">
                  <c:v/>
                </c:pt>
              </c:strCache>
            </c:strRef>
          </c:cat>
          <c:val>
            <c:numRef>
              <c:f>Sheet1!$E$2:$E$8</c:f>
              <c:numCache>
                <c:formatCode>General</c:formatCode>
                <c:ptCount val="7"/>
                <c:pt idx="1">
                  <c:v>2.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c:pt>
                <c:pt idx="1">
                  <c:v>IX 46</c:v>
                </c:pt>
                <c:pt idx="2">
                  <c:v/>
                </c:pt>
                <c:pt idx="3">
                  <c:v/>
                </c:pt>
                <c:pt idx="4">
                  <c:v/>
                </c:pt>
                <c:pt idx="5">
                  <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341"/>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12</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12</a:t>
                    </a:r>
                  </a:p>
                  <a:p>
                    <a:r>
                      <a:t>1.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12</c:v>
                </c:pt>
              </c:strCache>
            </c:strRef>
          </c:cat>
          <c:val>
            <c:numRef>
              <c:f>Sheet1!$C$2:$C$3</c:f>
              <c:numCache>
                <c:formatCode>General</c:formatCode>
                <c:ptCount val="2"/>
                <c:pt idx="1">
                  <c:v>1.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12</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12</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12</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IX 100</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4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0</a:t>
                    </a:r>
                  </a:p>
                  <a:p>
                    <a:r>
                      <a:t>1.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IX 100</c:v>
                </c:pt>
              </c:strCache>
            </c:strRef>
          </c:cat>
          <c:val>
            <c:numRef>
              <c:f>Sheet1!$C$2:$C$7</c:f>
              <c:numCache>
                <c:formatCode>General</c:formatCode>
                <c:ptCount val="6"/>
                <c:pt idx="0">
                  <c:v>1.41</c:v>
                </c:pt>
                <c:pt idx="5">
                  <c:v>1.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IX 100</c:v>
                </c:pt>
              </c:strCache>
            </c:strRef>
          </c:cat>
          <c:val>
            <c:numRef>
              <c:f>Sheet1!$D$2:$D$7</c:f>
              <c:numCache>
                <c:formatCode>General</c:formatCode>
                <c:ptCount val="6"/>
                <c:pt idx="4">
                  <c:v>2.1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IX 100</c:v>
                </c:pt>
              </c:strCache>
            </c:strRef>
          </c:cat>
          <c:val>
            <c:numRef>
              <c:f>Sheet1!$E$2:$E$7</c:f>
              <c:numCache>
                <c:formatCode>General</c:formatCode>
                <c:ptCount val="6"/>
                <c:pt idx="3">
                  <c:v>0.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IX 100</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C$2:$C$7</c:f>
              <c:numCache>
                <c:formatCode>General</c:formatCode>
                <c:ptCount val="6"/>
                <c:pt idx="2">
                  <c:v>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D$2:$D$7</c:f>
              <c:numCache>
                <c:formatCode>General</c:formatCode>
                <c:ptCount val="6"/>
                <c:pt idx="4">
                  <c:v>2.1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E$2:$E$7</c:f>
              <c:numCache>
                <c:formatCode>General</c:formatCode>
                <c:ptCount val="6"/>
                <c:pt idx="3">
                  <c:v>0.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61</c:v>
                </c:pt>
                <c:pt idx="2">
                  <c:v/>
                </c:pt>
                <c:pt idx="3">
                  <c:v/>
                </c:pt>
                <c:pt idx="4">
                  <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1</a:t>
                    </a:r>
                  </a:p>
                  <a:p>
                    <a:r>
                      <a:t>0.5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61</c:v>
                </c:pt>
                <c:pt idx="2">
                  <c:v/>
                </c:pt>
                <c:pt idx="3">
                  <c:v/>
                </c:pt>
                <c:pt idx="4">
                  <c:v/>
                </c:pt>
                <c:pt idx="5">
                  <c:v/>
                </c:pt>
              </c:strCache>
            </c:strRef>
          </c:cat>
          <c:val>
            <c:numRef>
              <c:f>Sheet1!$C$2:$C$7</c:f>
              <c:numCache>
                <c:formatCode>General</c:formatCode>
                <c:ptCount val="6"/>
                <c:pt idx="1">
                  <c:v>0.5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61</c:v>
                </c:pt>
                <c:pt idx="2">
                  <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61</c:v>
                </c:pt>
                <c:pt idx="2">
                  <c:v/>
                </c:pt>
                <c:pt idx="3">
                  <c:v/>
                </c:pt>
                <c:pt idx="4">
                  <c:v/>
                </c:pt>
                <c:pt idx="5">
                  <c:v/>
                </c:pt>
              </c:strCache>
            </c:strRef>
          </c:cat>
          <c:val>
            <c:numRef>
              <c:f>Sheet1!$E$2:$E$7</c:f>
              <c:numCache>
                <c:formatCode>General</c:formatCode>
                <c:ptCount val="6"/>
                <c:pt idx="4">
                  <c:v>2.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61</c:v>
                </c:pt>
                <c:pt idx="2">
                  <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8</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8</a:t>
                    </a:r>
                  </a:p>
                  <a:p>
                    <a:r>
                      <a:t>2.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8</c:v>
                </c:pt>
                <c:pt idx="5">
                  <c:v/>
                </c:pt>
              </c:strCache>
            </c:strRef>
          </c:cat>
          <c:val>
            <c:numRef>
              <c:f>Sheet1!$C$2:$C$7</c:f>
              <c:numCache>
                <c:formatCode>General</c:formatCode>
                <c:ptCount val="6"/>
                <c:pt idx="4">
                  <c:v>2.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8</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8</c:v>
                </c:pt>
                <c:pt idx="5">
                  <c:v/>
                </c:pt>
              </c:strCache>
            </c:strRef>
          </c:cat>
          <c:val>
            <c:numRef>
              <c:f>Sheet1!$E$2:$E$7</c:f>
              <c:numCache>
                <c:formatCode>General</c:formatCode>
                <c:ptCount val="6"/>
                <c:pt idx="4">
                  <c:v>2.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8</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0</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0</a:t>
                    </a:r>
                  </a:p>
                  <a:p>
                    <a:r>
                      <a:t>2.33</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0</c:v>
                </c:pt>
                <c:pt idx="5">
                  <c:v/>
                </c:pt>
              </c:strCache>
            </c:strRef>
          </c:cat>
          <c:val>
            <c:numRef>
              <c:f>Sheet1!$C$2:$C$7</c:f>
              <c:numCache>
                <c:formatCode>General</c:formatCode>
                <c:ptCount val="6"/>
                <c:pt idx="4">
                  <c:v>2.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0</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0</c:v>
                </c:pt>
                <c:pt idx="5">
                  <c:v/>
                </c:pt>
              </c:strCache>
            </c:strRef>
          </c:cat>
          <c:val>
            <c:numRef>
              <c:f>Sheet1!$E$2:$E$7</c:f>
              <c:numCache>
                <c:formatCode>General</c:formatCode>
                <c:ptCount val="6"/>
                <c:pt idx="4">
                  <c:v>2.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110</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65</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65</a:t>
                    </a:r>
                  </a:p>
                  <a:p>
                    <a:r>
                      <a:t>1.3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65</c:v>
                </c:pt>
                <c:pt idx="5">
                  <c:v/>
                </c:pt>
              </c:strCache>
            </c:strRef>
          </c:cat>
          <c:val>
            <c:numRef>
              <c:f>Sheet1!$C$2:$C$7</c:f>
              <c:numCache>
                <c:formatCode>General</c:formatCode>
                <c:ptCount val="6"/>
                <c:pt idx="4">
                  <c:v>1.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65</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65</c:v>
                </c:pt>
                <c:pt idx="5">
                  <c:v/>
                </c:pt>
              </c:strCache>
            </c:strRef>
          </c:cat>
          <c:val>
            <c:numRef>
              <c:f>Sheet1!$E$2:$E$7</c:f>
              <c:numCache>
                <c:formatCode>General</c:formatCode>
                <c:ptCount val="6"/>
                <c:pt idx="4">
                  <c:v>2.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65</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3.0</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C$2:$C$7</c:f>
              <c:numCache>
                <c:formatCode>General</c:formatCode>
                <c:ptCount val="6"/>
                <c:pt idx="2">
                  <c:v>3.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E$2:$E$7</c:f>
              <c:numCache>
                <c:formatCode>General</c:formatCode>
                <c:ptCount val="6"/>
                <c:pt idx="4">
                  <c:v>2.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5"/>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8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C$2:$C$7</c:f>
              <c:numCache>
                <c:formatCode>General</c:formatCode>
                <c:ptCount val="6"/>
                <c:pt idx="2">
                  <c:v>1.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 Flex4</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D$2:$D$7</c:f>
              <c:numCache>
                <c:formatCode>General</c:formatCode>
                <c:ptCount val="6"/>
                <c:pt idx="4">
                  <c:v>2.1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E$2:$E$7</c:f>
              <c:numCache>
                <c:formatCode>General</c:formatCode>
                <c:ptCount val="6"/>
                <c:pt idx="3">
                  <c:v>0.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IX 100</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0.8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C$2:$C$7</c:f>
              <c:numCache>
                <c:formatCode>General</c:formatCode>
                <c:ptCount val="6"/>
                <c:pt idx="0">
                  <c:v>0.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E$2:$E$7</c:f>
              <c:numCache>
                <c:formatCode>General</c:formatCode>
                <c:ptCount val="6"/>
                <c:pt idx="1">
                  <c:v>0.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4</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F$2:$F$7</c:f>
              <c:numCache>
                <c:formatCode>General</c:formatCode>
                <c:ptCount val="6"/>
                <c:pt idx="4">
                  <c:v>2.1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21</c:v>
                </c:pt>
                <c:pt idx="2">
                  <c:v/>
                </c:pt>
                <c:pt idx="3">
                  <c:v/>
                </c:pt>
                <c:pt idx="4">
                  <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21</c:v>
                </c:pt>
                <c:pt idx="2">
                  <c:v/>
                </c:pt>
                <c:pt idx="3">
                  <c:v/>
                </c:pt>
                <c:pt idx="4">
                  <c:v/>
                </c:pt>
                <c:pt idx="5">
                  <c:v/>
                </c:pt>
              </c:strCache>
            </c:strRef>
          </c:cat>
          <c:val>
            <c:numRef>
              <c:f>Sheet1!$C$2:$C$7</c:f>
              <c:numCache>
                <c:formatCode>General</c:formatCode>
                <c:ptCount val="6"/>
                <c:pt idx="1">
                  <c:v>0.1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21</c:v>
                </c:pt>
                <c:pt idx="2">
                  <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21</c:v>
                </c:pt>
                <c:pt idx="2">
                  <c:v/>
                </c:pt>
                <c:pt idx="3">
                  <c:v/>
                </c:pt>
                <c:pt idx="4">
                  <c:v/>
                </c:pt>
                <c:pt idx="5">
                  <c:v/>
                </c:pt>
              </c:strCache>
            </c:strRef>
          </c:cat>
          <c:val>
            <c:numRef>
              <c:f>Sheet1!$E$2:$E$7</c:f>
              <c:numCache>
                <c:formatCode>General</c:formatCode>
                <c:ptCount val="6"/>
                <c:pt idx="4">
                  <c:v>2.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21</c:v>
                </c:pt>
                <c:pt idx="2">
                  <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3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IX 112</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4</a:t>
                    </a:r>
                  </a:p>
                  <a:p>
                    <a:r>
                      <a:t>1.09</a:t>
                    </a:r>
                  </a:p>
                </c:rich>
              </c:tx>
              <c:dLblPos val="l"/>
              <c:showLegendKey val="0"/>
              <c:showVal val="1"/>
              <c:showCatName val="0"/>
              <c:showSerName val="0"/>
              <c:showPercent val="0"/>
              <c:showBubbleSize val="0"/>
            </c:dLbl>
            <c:dLbl>
              <c:idx val="1"/>
              <c:tx>
                <c:rich>
                  <a:bodyPr/>
                  <a:lstStyle/>
                  <a:p>
                    <a:r>
                      <a:t>IX 112</a:t>
                    </a:r>
                  </a:p>
                  <a:p>
                    <a:r>
                      <a:t>1.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IX 112</c:v>
                </c:pt>
              </c:strCache>
            </c:strRef>
          </c:cat>
          <c:val>
            <c:numRef>
              <c:f>Sheet1!$C$2:$C$3</c:f>
              <c:numCache>
                <c:formatCode>General</c:formatCode>
                <c:ptCount val="2"/>
                <c:pt idx="0">
                  <c:v>1.09</c:v>
                </c:pt>
                <c:pt idx="1">
                  <c:v>1.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IX 112</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IX 112</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IX 112</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3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C$2:$C$7</c:f>
              <c:numCache>
                <c:formatCode>General</c:formatCode>
                <c:ptCount val="6"/>
                <c:pt idx="0">
                  <c:v>1.3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ensor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E$2:$E$7</c:f>
              <c:numCache>
                <c:formatCode>General</c:formatCode>
                <c:ptCount val="6"/>
                <c:pt idx="1">
                  <c:v>0.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 Flex4</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0</c:v>
                </c:pt>
                <c:pt idx="1">
                  <c:v/>
                </c:pt>
                <c:pt idx="2">
                  <c:v/>
                </c:pt>
                <c:pt idx="3">
                  <c:v/>
                </c:pt>
                <c:pt idx="4">
                  <c:v/>
                </c:pt>
                <c:pt idx="5">
                  <c:v/>
                </c:pt>
              </c:strCache>
            </c:strRef>
          </c:cat>
          <c:val>
            <c:numRef>
              <c:f>Sheet1!$F$2:$F$7</c:f>
              <c:numCache>
                <c:formatCode>General</c:formatCode>
                <c:ptCount val="6"/>
                <c:pt idx="4">
                  <c:v>2.1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37</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37</a:t>
                    </a:r>
                  </a:p>
                  <a:p>
                    <a:r>
                      <a:t>0.79</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37</c:v>
                </c:pt>
                <c:pt idx="5">
                  <c:v/>
                </c:pt>
              </c:strCache>
            </c:strRef>
          </c:cat>
          <c:val>
            <c:numRef>
              <c:f>Sheet1!$C$2:$C$7</c:f>
              <c:numCache>
                <c:formatCode>General</c:formatCode>
                <c:ptCount val="6"/>
                <c:pt idx="4">
                  <c:v>0.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37</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37</c:v>
                </c:pt>
                <c:pt idx="5">
                  <c:v/>
                </c:pt>
              </c:strCache>
            </c:strRef>
          </c:cat>
          <c:val>
            <c:numRef>
              <c:f>Sheet1!$E$2:$E$7</c:f>
              <c:numCache>
                <c:formatCode>General</c:formatCode>
                <c:ptCount val="6"/>
                <c:pt idx="4">
                  <c:v>2.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
                </c:pt>
                <c:pt idx="2">
                  <c:v/>
                </c:pt>
                <c:pt idx="3">
                  <c:v/>
                </c:pt>
                <c:pt idx="4">
                  <c:v>IX 37</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42</c:v>
                </c:pt>
                <c:pt idx="2">
                  <c:v/>
                </c:pt>
                <c:pt idx="3">
                  <c:v/>
                </c:pt>
                <c:pt idx="4">
                  <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2</a:t>
                    </a:r>
                  </a:p>
                  <a:p>
                    <a:r>
                      <a:t>0.3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42</c:v>
                </c:pt>
                <c:pt idx="2">
                  <c:v/>
                </c:pt>
                <c:pt idx="3">
                  <c:v/>
                </c:pt>
                <c:pt idx="4">
                  <c:v/>
                </c:pt>
                <c:pt idx="5">
                  <c:v/>
                </c:pt>
              </c:strCache>
            </c:strRef>
          </c:cat>
          <c:val>
            <c:numRef>
              <c:f>Sheet1!$C$2:$C$7</c:f>
              <c:numCache>
                <c:formatCode>General</c:formatCode>
                <c:ptCount val="6"/>
                <c:pt idx="1">
                  <c:v>0.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ic</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42</c:v>
                </c:pt>
                <c:pt idx="2">
                  <c:v/>
                </c:pt>
                <c:pt idx="3">
                  <c:v/>
                </c:pt>
                <c:pt idx="4">
                  <c:v/>
                </c:pt>
                <c:pt idx="5">
                  <c:v/>
                </c:pt>
              </c:strCache>
            </c:strRef>
          </c:cat>
          <c:val>
            <c:numRef>
              <c:f>Sheet1!$D$2:$D$7</c:f>
              <c:numCache>
                <c:formatCode>General</c:formatCode>
                <c:ptCount val="6"/>
                <c:pt idx="3">
                  <c:v>0.2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 Flex4</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42</c:v>
                </c:pt>
                <c:pt idx="2">
                  <c:v/>
                </c:pt>
                <c:pt idx="3">
                  <c:v/>
                </c:pt>
                <c:pt idx="4">
                  <c:v/>
                </c:pt>
                <c:pt idx="5">
                  <c:v/>
                </c:pt>
              </c:strCache>
            </c:strRef>
          </c:cat>
          <c:val>
            <c:numRef>
              <c:f>Sheet1!$E$2:$E$7</c:f>
              <c:numCache>
                <c:formatCode>General</c:formatCode>
                <c:ptCount val="6"/>
                <c:pt idx="4">
                  <c:v>2.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c:pt>
                <c:pt idx="1">
                  <c:v>IX 42</c:v>
                </c:pt>
                <c:pt idx="2">
                  <c:v/>
                </c:pt>
                <c:pt idx="3">
                  <c:v/>
                </c:pt>
                <c:pt idx="4">
                  <c:v/>
                </c:pt>
                <c:pt idx="5">
                  <c:v/>
                </c:pt>
              </c:strCache>
            </c:strRef>
          </c:cat>
          <c:val>
            <c:numRef>
              <c:f>Sheet1!$F$2:$F$7</c:f>
              <c:numCache>
                <c:formatCode>General</c:formatCode>
                <c:ptCount val="6"/>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921"/>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1</a:t>
                    </a:r>
                  </a:p>
                  <a:p>
                    <a:r>
                      <a:t>2.3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
                </c:pt>
              </c:strCache>
            </c:strRef>
          </c:cat>
          <c:val>
            <c:numRef>
              <c:f>Sheet1!$C$2:$C$3</c:f>
              <c:numCache>
                <c:formatCode>General</c:formatCode>
                <c:ptCount val="2"/>
                <c:pt idx="0">
                  <c:v>2.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206</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a:t>
                    </a:r>
                  </a:p>
                  <a:p>
                    <a:r>
                      <a:t>0.67</a:t>
                    </a:r>
                  </a:p>
                </c:rich>
              </c:tx>
              <c:dLblPos val="l"/>
              <c:showLegendKey val="0"/>
              <c:showVal val="1"/>
              <c:showCatName val="0"/>
              <c:showSerName val="0"/>
              <c:showPercent val="0"/>
              <c:showBubbleSize val="0"/>
            </c:dLbl>
            <c:dLbl>
              <c:idx val="1"/>
              <c:tx>
                <c:rich>
                  <a:bodyPr/>
                  <a:lstStyle/>
                  <a:p>
                    <a:r>
                      <a:t>IX 206</a:t>
                    </a:r>
                  </a:p>
                  <a:p>
                    <a:r>
                      <a:t>1.8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206</c:v>
                </c:pt>
              </c:strCache>
            </c:strRef>
          </c:cat>
          <c:val>
            <c:numRef>
              <c:f>Sheet1!$C$2:$C$3</c:f>
              <c:numCache>
                <c:formatCode>General</c:formatCode>
                <c:ptCount val="2"/>
                <c:pt idx="0">
                  <c:v>0.67</c:v>
                </c:pt>
                <c:pt idx="1">
                  <c:v>1.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206</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206</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c:v>
                </c:pt>
                <c:pt idx="1">
                  <c:v>IX 206</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168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8</a:t>
                    </a:r>
                  </a:p>
                  <a:p>
                    <a:r>
                      <a:t>3.8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
                </c:pt>
              </c:strCache>
            </c:strRef>
          </c:cat>
          <c:val>
            <c:numRef>
              <c:f>Sheet1!$C$2:$C$3</c:f>
              <c:numCache>
                <c:formatCode>General</c:formatCode>
                <c:ptCount val="2"/>
                <c:pt idx="0">
                  <c:v>3.8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8</c:v>
                </c:pt>
                <c:pt idx="1">
                  <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6</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6</a:t>
                    </a:r>
                  </a:p>
                  <a:p>
                    <a:r>
                      <a:t>0.8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6</c:v>
                </c:pt>
              </c:strCache>
            </c:strRef>
          </c:cat>
          <c:val>
            <c:numRef>
              <c:f>Sheet1!$C$2:$C$3</c:f>
              <c:numCache>
                <c:formatCode>General</c:formatCode>
                <c:ptCount val="2"/>
                <c:pt idx="1">
                  <c:v>0.8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6</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6</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6</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5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C$2:$C$3</c:f>
              <c:numCache>
                <c:formatCode>General</c:formatCode>
                <c:ptCount val="2"/>
                <c:pt idx="1">
                  <c:v>0.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1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a:t>
                    </a:r>
                  </a:p>
                  <a:p>
                    <a:r>
                      <a:t>1.16</a:t>
                    </a:r>
                  </a:p>
                </c:rich>
              </c:tx>
              <c:dLblPos val="l"/>
              <c:showLegendKey val="0"/>
              <c:showVal val="1"/>
              <c:showCatName val="0"/>
              <c:showSerName val="0"/>
              <c:showPercent val="0"/>
              <c:showBubbleSize val="0"/>
            </c:dLbl>
            <c:dLbl>
              <c:idx val="1"/>
              <c:tx>
                <c:rich>
                  <a:bodyPr/>
                  <a:lstStyle/>
                  <a:p>
                    <a:r>
                      <a:t>IX 156</a:t>
                    </a:r>
                  </a:p>
                  <a:p>
                    <a:r>
                      <a:t>1.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C$2:$C$3</c:f>
              <c:numCache>
                <c:formatCode>General</c:formatCode>
                <c:ptCount val="2"/>
                <c:pt idx="0">
                  <c:v>1.16</c:v>
                </c:pt>
                <c:pt idx="1">
                  <c:v>1.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7</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87</a:t>
                    </a:r>
                  </a:p>
                  <a:p>
                    <a:r>
                      <a:t>0.7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7</c:v>
                </c:pt>
              </c:strCache>
            </c:strRef>
          </c:cat>
          <c:val>
            <c:numRef>
              <c:f>Sheet1!$C$2:$C$3</c:f>
              <c:numCache>
                <c:formatCode>General</c:formatCode>
                <c:ptCount val="2"/>
                <c:pt idx="1">
                  <c:v>0.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7</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7</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7</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2778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5</a:t>
                    </a:r>
                  </a:p>
                  <a:p>
                    <a:r>
                      <a:t>1.1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
                </c:pt>
              </c:strCache>
            </c:strRef>
          </c:cat>
          <c:val>
            <c:numRef>
              <c:f>Sheet1!$C$2:$C$3</c:f>
              <c:numCache>
                <c:formatCode>General</c:formatCode>
                <c:ptCount val="2"/>
                <c:pt idx="0">
                  <c:v>1.1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3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9</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9</a:t>
                    </a:r>
                  </a:p>
                  <a:p>
                    <a:r>
                      <a:t>0.3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9</c:v>
                </c:pt>
              </c:strCache>
            </c:strRef>
          </c:cat>
          <c:val>
            <c:numRef>
              <c:f>Sheet1!$C$2:$C$3</c:f>
              <c:numCache>
                <c:formatCode>General</c:formatCode>
                <c:ptCount val="2"/>
                <c:pt idx="1">
                  <c:v>0.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9</c:v>
                </c:pt>
              </c:strCache>
            </c:strRef>
          </c:cat>
          <c:val>
            <c:numRef>
              <c:f>Sheet1!$D$2:$D$3</c:f>
              <c:numCache>
                <c:formatCode>General</c:formatCode>
                <c:ptCount val="2"/>
                <c:pt idx="0">
                  <c:v>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9</c:v>
                </c:pt>
              </c:strCache>
            </c:strRef>
          </c:cat>
          <c:val>
            <c:numRef>
              <c:f>Sheet1!$E$2:$E$3</c:f>
              <c:numCache>
                <c:formatCode>General</c:formatCode>
                <c:ptCount val="2"/>
                <c:pt idx="0">
                  <c:v>3.08</c:v>
                </c:pt>
                <c:pt idx="1">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9</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0962"/>
          <c:min val="-0.150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71</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C$2:$C$3</c:f>
              <c:numCache>
                <c:formatCode>General</c:formatCode>
                <c:ptCount val="2"/>
                <c:pt idx="0">
                  <c:v>2.71</c:v>
                </c:pt>
                <c:pt idx="1">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D$2:$D$3</c:f>
              <c:numCache>
                <c:formatCode>General</c:formatCode>
                <c:ptCount val="2"/>
                <c:pt idx="0">
                  <c:v>4.02</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F$2:$F$3</c:f>
              <c:numCache>
                <c:formatCode>General</c:formatCode>
                <c:ptCount val="2"/>
                <c:pt idx="0">
                  <c:v>1.5</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216"/>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9</a:t>
                    </a:r>
                  </a:p>
                  <a:p>
                    <a:r>
                      <a:t>2.86</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C$2:$C$3</c:f>
              <c:numCache>
                <c:formatCode>General</c:formatCode>
                <c:ptCount val="2"/>
                <c:pt idx="0">
                  <c:v>2.86</c:v>
                </c:pt>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E$2:$E$3</c:f>
              <c:numCache>
                <c:formatCode>General</c:formatCode>
                <c:ptCount val="2"/>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F$2:$F$3</c:f>
              <c:numCache>
                <c:formatCode>General</c:formatCode>
                <c:ptCount val="2"/>
                <c:pt idx="0">
                  <c:v>0.19</c:v>
                </c:pt>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47"/>
          <c:min val="-0.30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4</a:t>
                    </a:r>
                  </a:p>
                  <a:p>
                    <a:r>
                      <a:t>2.65</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C$2:$C$3</c:f>
              <c:numCache>
                <c:formatCode>General</c:formatCode>
                <c:ptCount val="2"/>
                <c:pt idx="0">
                  <c:v>2.65</c:v>
                </c:pt>
                <c:pt idx="1">
                  <c:v>0.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F$2:$F$3</c:f>
              <c:numCache>
                <c:formatCode>General</c:formatCode>
                <c:ptCount val="2"/>
                <c:pt idx="0">
                  <c:v>1.4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71"/>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2</c:v>
                </c:pt>
                <c:pt idx="1">
                  <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2</a:t>
                    </a:r>
                  </a:p>
                  <a:p>
                    <a:r>
                      <a:t>4.1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2</c:v>
                </c:pt>
                <c:pt idx="1">
                  <c:v/>
                </c:pt>
              </c:strCache>
            </c:strRef>
          </c:cat>
          <c:val>
            <c:numRef>
              <c:f>Sheet1!$C$2:$C$3</c:f>
              <c:numCache>
                <c:formatCode>General</c:formatCode>
                <c:ptCount val="2"/>
                <c:pt idx="0">
                  <c:v>4.1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2</c:v>
                </c:pt>
                <c:pt idx="1">
                  <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2</c:v>
                </c:pt>
                <c:pt idx="1">
                  <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2</c:v>
                </c:pt>
                <c:pt idx="1">
                  <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146</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1</a:t>
                    </a:r>
                  </a:p>
                  <a:p>
                    <a:r>
                      <a:t>1.78</a:t>
                    </a:r>
                  </a:p>
                </c:rich>
              </c:tx>
              <c:dLblPos val="l"/>
              <c:showLegendKey val="0"/>
              <c:showVal val="1"/>
              <c:showCatName val="0"/>
              <c:showSerName val="0"/>
              <c:showPercent val="0"/>
              <c:showBubbleSize val="0"/>
            </c:dLbl>
            <c:dLbl>
              <c:idx val="1"/>
              <c:tx>
                <c:rich>
                  <a:bodyPr/>
                  <a:lstStyle/>
                  <a:p>
                    <a:r>
                      <a:t>IX 146</a:t>
                    </a:r>
                  </a:p>
                  <a:p>
                    <a:r>
                      <a:t>1.3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146</c:v>
                </c:pt>
              </c:strCache>
            </c:strRef>
          </c:cat>
          <c:val>
            <c:numRef>
              <c:f>Sheet1!$C$2:$C$3</c:f>
              <c:numCache>
                <c:formatCode>General</c:formatCode>
                <c:ptCount val="2"/>
                <c:pt idx="0">
                  <c:v>1.78</c:v>
                </c:pt>
                <c:pt idx="1">
                  <c:v>1.3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146</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146</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IX 146</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154</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2.16</a:t>
                    </a:r>
                  </a:p>
                </c:rich>
              </c:tx>
              <c:dLblPos val="l"/>
              <c:showLegendKey val="0"/>
              <c:showVal val="1"/>
              <c:showCatName val="0"/>
              <c:showSerName val="0"/>
              <c:showPercent val="0"/>
              <c:showBubbleSize val="0"/>
            </c:dLbl>
            <c:dLbl>
              <c:idx val="1"/>
              <c:tx>
                <c:rich>
                  <a:bodyPr/>
                  <a:lstStyle/>
                  <a:p>
                    <a:r>
                      <a:t>IX 154</a:t>
                    </a:r>
                  </a:p>
                  <a:p>
                    <a:r>
                      <a:t>1.4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154</c:v>
                </c:pt>
              </c:strCache>
            </c:strRef>
          </c:cat>
          <c:val>
            <c:numRef>
              <c:f>Sheet1!$C$2:$C$3</c:f>
              <c:numCache>
                <c:formatCode>General</c:formatCode>
                <c:ptCount val="2"/>
                <c:pt idx="0">
                  <c:v>2.16</c:v>
                </c:pt>
                <c:pt idx="1">
                  <c:v>1.4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154</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154</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154</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396</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3</a:t>
                    </a:r>
                  </a:p>
                  <a:p>
                    <a:r>
                      <a:t>2.85</a:t>
                    </a:r>
                  </a:p>
                </c:rich>
              </c:tx>
              <c:dLblPos val="l"/>
              <c:showLegendKey val="0"/>
              <c:showVal val="1"/>
              <c:showCatName val="0"/>
              <c:showSerName val="0"/>
              <c:showPercent val="0"/>
              <c:showBubbleSize val="0"/>
            </c:dLbl>
            <c:dLbl>
              <c:idx val="1"/>
              <c:tx>
                <c:rich>
                  <a:bodyPr/>
                  <a:lstStyle/>
                  <a:p>
                    <a:r>
                      <a:t>IX 396</a:t>
                    </a:r>
                  </a:p>
                  <a:p>
                    <a:r>
                      <a:t>3.6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396</c:v>
                </c:pt>
              </c:strCache>
            </c:strRef>
          </c:cat>
          <c:val>
            <c:numRef>
              <c:f>Sheet1!$C$2:$C$3</c:f>
              <c:numCache>
                <c:formatCode>General</c:formatCode>
                <c:ptCount val="2"/>
                <c:pt idx="0">
                  <c:v>2.85</c:v>
                </c:pt>
                <c:pt idx="1">
                  <c:v>3.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396</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396</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396</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5</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5</a:t>
                    </a:r>
                  </a:p>
                  <a:p>
                    <a:r>
                      <a:t>0.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5</c:v>
                </c:pt>
              </c:strCache>
            </c:strRef>
          </c:cat>
          <c:val>
            <c:numRef>
              <c:f>Sheet1!$C$2:$C$3</c:f>
              <c:numCache>
                <c:formatCode>General</c:formatCode>
                <c:ptCount val="2"/>
                <c:pt idx="1">
                  <c:v>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5</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5</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5</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103299999999999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541</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2.16</a:t>
                    </a:r>
                  </a:p>
                </c:rich>
              </c:tx>
              <c:dLblPos val="l"/>
              <c:showLegendKey val="0"/>
              <c:showVal val="1"/>
              <c:showCatName val="0"/>
              <c:showSerName val="0"/>
              <c:showPercent val="0"/>
              <c:showBubbleSize val="0"/>
            </c:dLbl>
            <c:dLbl>
              <c:idx val="1"/>
              <c:tx>
                <c:rich>
                  <a:bodyPr/>
                  <a:lstStyle/>
                  <a:p>
                    <a:r>
                      <a:t>IX 541</a:t>
                    </a:r>
                  </a:p>
                  <a:p>
                    <a:r>
                      <a:t>5.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541</c:v>
                </c:pt>
              </c:strCache>
            </c:strRef>
          </c:cat>
          <c:val>
            <c:numRef>
              <c:f>Sheet1!$C$2:$C$3</c:f>
              <c:numCache>
                <c:formatCode>General</c:formatCode>
                <c:ptCount val="2"/>
                <c:pt idx="0">
                  <c:v>2.16</c:v>
                </c:pt>
                <c:pt idx="1">
                  <c:v>5.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541</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541</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541</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6</c:v>
                </c:pt>
                <c:pt idx="1">
                  <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2.5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6</c:v>
                </c:pt>
                <c:pt idx="1">
                  <c:v/>
                </c:pt>
              </c:strCache>
            </c:strRef>
          </c:cat>
          <c:val>
            <c:numRef>
              <c:f>Sheet1!$C$2:$C$3</c:f>
              <c:numCache>
                <c:formatCode>General</c:formatCode>
                <c:ptCount val="2"/>
                <c:pt idx="0">
                  <c:v>2.5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6</c:v>
                </c:pt>
                <c:pt idx="1">
                  <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6</c:v>
                </c:pt>
                <c:pt idx="1">
                  <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6</c:v>
                </c:pt>
                <c:pt idx="1">
                  <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6</c:v>
                </c:pt>
                <c:pt idx="1">
                  <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6</a:t>
                    </a:r>
                  </a:p>
                  <a:p>
                    <a:r>
                      <a:t>2.0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6</c:v>
                </c:pt>
                <c:pt idx="1">
                  <c:v/>
                </c:pt>
              </c:strCache>
            </c:strRef>
          </c:cat>
          <c:val>
            <c:numRef>
              <c:f>Sheet1!$C$2:$C$3</c:f>
              <c:numCache>
                <c:formatCode>General</c:formatCode>
                <c:ptCount val="2"/>
                <c:pt idx="0">
                  <c:v>2.0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6</c:v>
                </c:pt>
                <c:pt idx="1">
                  <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6</c:v>
                </c:pt>
                <c:pt idx="1">
                  <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6</c:v>
                </c:pt>
                <c:pt idx="1">
                  <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12</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12</a:t>
                    </a:r>
                  </a:p>
                  <a:p>
                    <a:r>
                      <a:t>2.8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12</c:v>
                </c:pt>
              </c:strCache>
            </c:strRef>
          </c:cat>
          <c:val>
            <c:numRef>
              <c:f>Sheet1!$C$2:$C$3</c:f>
              <c:numCache>
                <c:formatCode>General</c:formatCode>
                <c:ptCount val="2"/>
                <c:pt idx="1">
                  <c:v>2.8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12</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12</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312</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169</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Class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6</a:t>
                    </a:r>
                  </a:p>
                  <a:p>
                    <a:r>
                      <a:t>1.17</a:t>
                    </a:r>
                  </a:p>
                </c:rich>
              </c:tx>
              <c:dLblPos val="l"/>
              <c:showLegendKey val="0"/>
              <c:showVal val="1"/>
              <c:showCatName val="0"/>
              <c:showSerName val="0"/>
              <c:showPercent val="0"/>
              <c:showBubbleSize val="0"/>
            </c:dLbl>
            <c:dLbl>
              <c:idx val="1"/>
              <c:tx>
                <c:rich>
                  <a:bodyPr/>
                  <a:lstStyle/>
                  <a:p>
                    <a:r>
                      <a:t>IX 169</a:t>
                    </a:r>
                  </a:p>
                  <a:p>
                    <a:r>
                      <a:t>1.5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169</c:v>
                </c:pt>
              </c:strCache>
            </c:strRef>
          </c:cat>
          <c:val>
            <c:numRef>
              <c:f>Sheet1!$C$2:$C$3</c:f>
              <c:numCache>
                <c:formatCode>General</c:formatCode>
                <c:ptCount val="2"/>
                <c:pt idx="0">
                  <c:v>1.17</c:v>
                </c:pt>
                <c:pt idx="1">
                  <c:v>1.5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169</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169</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6</c:v>
                </c:pt>
                <c:pt idx="1">
                  <c:v>IX 169</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8</c:v>
                </c:pt>
                <c:pt idx="1">
                  <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8</a:t>
                    </a:r>
                  </a:p>
                  <a:p>
                    <a:r>
                      <a:t>1.2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8</c:v>
                </c:pt>
                <c:pt idx="1">
                  <c:v/>
                </c:pt>
              </c:strCache>
            </c:strRef>
          </c:cat>
          <c:val>
            <c:numRef>
              <c:f>Sheet1!$C$2:$C$3</c:f>
              <c:numCache>
                <c:formatCode>General</c:formatCode>
                <c:ptCount val="2"/>
                <c:pt idx="0">
                  <c:v>1.2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8</c:v>
                </c:pt>
                <c:pt idx="1">
                  <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8</c:v>
                </c:pt>
                <c:pt idx="1">
                  <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8</c:v>
                </c:pt>
                <c:pt idx="1">
                  <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3</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03</a:t>
                    </a:r>
                  </a:p>
                  <a:p>
                    <a:r>
                      <a:t>1.8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3</c:v>
                </c:pt>
              </c:strCache>
            </c:strRef>
          </c:cat>
          <c:val>
            <c:numRef>
              <c:f>Sheet1!$C$2:$C$3</c:f>
              <c:numCache>
                <c:formatCode>General</c:formatCode>
                <c:ptCount val="2"/>
                <c:pt idx="1">
                  <c:v>1.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3</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3</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3</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393</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2.72</a:t>
                    </a:r>
                  </a:p>
                </c:rich>
              </c:tx>
              <c:dLblPos val="l"/>
              <c:showLegendKey val="0"/>
              <c:showVal val="1"/>
              <c:showCatName val="0"/>
              <c:showSerName val="0"/>
              <c:showPercent val="0"/>
              <c:showBubbleSize val="0"/>
            </c:dLbl>
            <c:dLbl>
              <c:idx val="1"/>
              <c:tx>
                <c:rich>
                  <a:bodyPr/>
                  <a:lstStyle/>
                  <a:p>
                    <a:r>
                      <a:t>IX 393</a:t>
                    </a:r>
                  </a:p>
                  <a:p>
                    <a:r>
                      <a:t>3.5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393</c:v>
                </c:pt>
              </c:strCache>
            </c:strRef>
          </c:cat>
          <c:val>
            <c:numRef>
              <c:f>Sheet1!$C$2:$C$3</c:f>
              <c:numCache>
                <c:formatCode>General</c:formatCode>
                <c:ptCount val="2"/>
                <c:pt idx="0">
                  <c:v>2.72</c:v>
                </c:pt>
                <c:pt idx="1">
                  <c:v>3.5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393</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393</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393</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2</c:v>
                </c:pt>
                <c:pt idx="1">
                  <c:v>IX 357</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1.44</a:t>
                    </a:r>
                  </a:p>
                </c:rich>
              </c:tx>
              <c:dLblPos val="l"/>
              <c:showLegendKey val="0"/>
              <c:showVal val="1"/>
              <c:showCatName val="0"/>
              <c:showSerName val="0"/>
              <c:showPercent val="0"/>
              <c:showBubbleSize val="0"/>
            </c:dLbl>
            <c:dLbl>
              <c:idx val="1"/>
              <c:tx>
                <c:rich>
                  <a:bodyPr/>
                  <a:lstStyle/>
                  <a:p>
                    <a:r>
                      <a:t>IX 357</a:t>
                    </a:r>
                  </a:p>
                  <a:p>
                    <a:r>
                      <a:t>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2</c:v>
                </c:pt>
                <c:pt idx="1">
                  <c:v>IX 357</c:v>
                </c:pt>
              </c:strCache>
            </c:strRef>
          </c:cat>
          <c:val>
            <c:numRef>
              <c:f>Sheet1!$C$2:$C$3</c:f>
              <c:numCache>
                <c:formatCode>General</c:formatCode>
                <c:ptCount val="2"/>
                <c:pt idx="0">
                  <c:v>1.44</c:v>
                </c:pt>
                <c:pt idx="1">
                  <c:v>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2</c:v>
                </c:pt>
                <c:pt idx="1">
                  <c:v>IX 357</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2</c:v>
                </c:pt>
                <c:pt idx="1">
                  <c:v>IX 357</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2</c:v>
                </c:pt>
                <c:pt idx="1">
                  <c:v>IX 357</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3</c:v>
                </c:pt>
                <c:pt idx="1">
                  <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3</a:t>
                    </a:r>
                  </a:p>
                  <a:p>
                    <a:r>
                      <a:t>2.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3</c:v>
                </c:pt>
                <c:pt idx="1">
                  <c:v/>
                </c:pt>
              </c:strCache>
            </c:strRef>
          </c:cat>
          <c:val>
            <c:numRef>
              <c:f>Sheet1!$C$2:$C$3</c:f>
              <c:numCache>
                <c:formatCode>General</c:formatCode>
                <c:ptCount val="2"/>
                <c:pt idx="0">
                  <c:v>2.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3</c:v>
                </c:pt>
                <c:pt idx="1">
                  <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3</c:v>
                </c:pt>
                <c:pt idx="1">
                  <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3</c:v>
                </c:pt>
                <c:pt idx="1">
                  <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98</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a:t>
                    </a:r>
                  </a:p>
                  <a:p>
                    <a:r>
                      <a:t>1.11</a:t>
                    </a:r>
                  </a:p>
                </c:rich>
              </c:tx>
              <c:dLblPos val="l"/>
              <c:showLegendKey val="0"/>
              <c:showVal val="1"/>
              <c:showCatName val="0"/>
              <c:showSerName val="0"/>
              <c:showPercent val="0"/>
              <c:showBubbleSize val="0"/>
            </c:dLbl>
            <c:dLbl>
              <c:idx val="1"/>
              <c:tx>
                <c:rich>
                  <a:bodyPr/>
                  <a:lstStyle/>
                  <a:p>
                    <a:r>
                      <a:t>IX 198</a:t>
                    </a:r>
                  </a:p>
                  <a:p>
                    <a:r>
                      <a:t>1.8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98</c:v>
                </c:pt>
              </c:strCache>
            </c:strRef>
          </c:cat>
          <c:val>
            <c:numRef>
              <c:f>Sheet1!$C$2:$C$3</c:f>
              <c:numCache>
                <c:formatCode>General</c:formatCode>
                <c:ptCount val="2"/>
                <c:pt idx="0">
                  <c:v>1.11</c:v>
                </c:pt>
                <c:pt idx="1">
                  <c:v>1.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98</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98</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98</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8</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8</a:t>
                    </a:r>
                  </a:p>
                  <a:p>
                    <a:r>
                      <a:t>0.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8</c:v>
                </c:pt>
              </c:strCache>
            </c:strRef>
          </c:cat>
          <c:val>
            <c:numRef>
              <c:f>Sheet1!$C$2:$C$3</c:f>
              <c:numCache>
                <c:formatCode>General</c:formatCode>
                <c:ptCount val="2"/>
                <c:pt idx="1">
                  <c:v>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8</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8</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8</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03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0</a:t>
                    </a:r>
                  </a:p>
                  <a:p>
                    <a:r>
                      <a:t>0.1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C$2:$C$3</c:f>
              <c:numCache>
                <c:formatCode>General</c:formatCode>
                <c:ptCount val="2"/>
                <c:pt idx="1">
                  <c:v>0.1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0</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3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0</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a:t>
                    </a:r>
                  </a:p>
                  <a:p>
                    <a:r>
                      <a:t>1.15</a:t>
                    </a:r>
                  </a:p>
                </c:rich>
              </c:tx>
              <c:dLblPos val="l"/>
              <c:showLegendKey val="0"/>
              <c:showVal val="1"/>
              <c:showCatName val="0"/>
              <c:showSerName val="0"/>
              <c:showPercent val="0"/>
              <c:showBubbleSize val="0"/>
            </c:dLbl>
            <c:dLbl>
              <c:idx val="1"/>
              <c:tx>
                <c:rich>
                  <a:bodyPr/>
                  <a:lstStyle/>
                  <a:p>
                    <a:r>
                      <a:t>IX 150</a:t>
                    </a:r>
                  </a:p>
                  <a:p>
                    <a:r>
                      <a:t>1.3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0</c:v>
                </c:pt>
              </c:strCache>
            </c:strRef>
          </c:cat>
          <c:val>
            <c:numRef>
              <c:f>Sheet1!$C$2:$C$3</c:f>
              <c:numCache>
                <c:formatCode>General</c:formatCode>
                <c:ptCount val="2"/>
                <c:pt idx="0">
                  <c:v>1.15</c:v>
                </c:pt>
                <c:pt idx="1">
                  <c:v>1.3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0</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0</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0</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7</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87</a:t>
                    </a:r>
                  </a:p>
                  <a:p>
                    <a:r>
                      <a:t>1.7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7</c:v>
                </c:pt>
              </c:strCache>
            </c:strRef>
          </c:cat>
          <c:val>
            <c:numRef>
              <c:f>Sheet1!$C$2:$C$3</c:f>
              <c:numCache>
                <c:formatCode>General</c:formatCode>
                <c:ptCount val="2"/>
                <c:pt idx="1">
                  <c:v>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7</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7</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87</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1</a:t>
                    </a:r>
                  </a:p>
                  <a:p>
                    <a:r>
                      <a:t>1.8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C$2:$C$3</c:f>
              <c:numCache>
                <c:formatCode>General</c:formatCode>
                <c:ptCount val="2"/>
                <c:pt idx="0">
                  <c:v>1.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1</c:v>
                </c:pt>
                <c:pt idx="1">
                  <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42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72</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a:t>
                    </a:r>
                  </a:p>
                  <a:p>
                    <a:r>
                      <a:t>0.72</a:t>
                    </a:r>
                  </a:p>
                </c:rich>
              </c:tx>
              <c:dLblPos val="l"/>
              <c:showLegendKey val="0"/>
              <c:showVal val="1"/>
              <c:showCatName val="0"/>
              <c:showSerName val="0"/>
              <c:showPercent val="0"/>
              <c:showBubbleSize val="0"/>
            </c:dLbl>
            <c:dLbl>
              <c:idx val="1"/>
              <c:tx>
                <c:rich>
                  <a:bodyPr/>
                  <a:lstStyle/>
                  <a:p>
                    <a:r>
                      <a:t>IX 72</a:t>
                    </a:r>
                  </a:p>
                  <a:p>
                    <a:r>
                      <a:t>0.6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72</c:v>
                </c:pt>
              </c:strCache>
            </c:strRef>
          </c:cat>
          <c:val>
            <c:numRef>
              <c:f>Sheet1!$C$2:$C$3</c:f>
              <c:numCache>
                <c:formatCode>General</c:formatCode>
                <c:ptCount val="2"/>
                <c:pt idx="0">
                  <c:v>0.72</c:v>
                </c:pt>
                <c:pt idx="1">
                  <c:v>0.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72</c:v>
                </c:pt>
              </c:strCache>
            </c:strRef>
          </c:cat>
          <c:val>
            <c:numRef>
              <c:f>Sheet1!$D$2:$D$3</c:f>
              <c:numCache>
                <c:formatCode>General</c:formatCode>
                <c:ptCount val="2"/>
                <c:pt idx="0">
                  <c:v>4.52</c:v>
                </c:pt>
                <c:pt idx="1">
                  <c:v>7.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72</c:v>
                </c:pt>
              </c:strCache>
            </c:strRef>
          </c:cat>
          <c:val>
            <c:numRef>
              <c:f>Sheet1!$E$2:$E$3</c:f>
              <c:numCache>
                <c:formatCode>General</c:formatCode>
                <c:ptCount val="2"/>
                <c:pt idx="0">
                  <c:v>3.02</c:v>
                </c:pt>
                <c:pt idx="1">
                  <c:v>2.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c:v>
                </c:pt>
                <c:pt idx="1">
                  <c:v>IX 72</c:v>
                </c:pt>
              </c:strCache>
            </c:strRef>
          </c:cat>
          <c:val>
            <c:numRef>
              <c:f>Sheet1!$F$2:$F$3</c:f>
              <c:numCache>
                <c:formatCode>General</c:formatCode>
                <c:ptCount val="2"/>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3125"/>
          <c:min val="0.1618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1</c:v>
                </c:pt>
                <c:pt idx="1">
                  <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1</a:t>
                    </a:r>
                  </a:p>
                  <a:p>
                    <a:r>
                      <a:t>2.8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1</c:v>
                </c:pt>
                <c:pt idx="1">
                  <c:v/>
                </c:pt>
              </c:strCache>
            </c:strRef>
          </c:cat>
          <c:val>
            <c:numRef>
              <c:f>Sheet1!$C$2:$C$3</c:f>
              <c:numCache>
                <c:formatCode>General</c:formatCode>
                <c:ptCount val="2"/>
                <c:pt idx="0">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1</c:v>
                </c:pt>
                <c:pt idx="1">
                  <c:v/>
                </c:pt>
              </c:strCache>
            </c:strRef>
          </c:cat>
          <c:val>
            <c:numRef>
              <c:f>Sheet1!$D$2:$D$3</c:f>
              <c:numCache>
                <c:formatCode>General</c:formatCode>
                <c:ptCount val="2"/>
                <c:pt idx="0">
                  <c:v>2.8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1</c:v>
                </c:pt>
                <c:pt idx="1">
                  <c:v/>
                </c:pt>
              </c:strCache>
            </c:strRef>
          </c:cat>
          <c:val>
            <c:numRef>
              <c:f>Sheet1!$E$2:$E$3</c:f>
              <c:numCache>
                <c:formatCode>General</c:formatCode>
                <c:ptCount val="2"/>
                <c:pt idx="0">
                  <c:v>1.9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1</c:v>
                </c:pt>
                <c:pt idx="1">
                  <c:v/>
                </c:pt>
              </c:strCache>
            </c:strRef>
          </c:cat>
          <c:val>
            <c:numRef>
              <c:f>Sheet1!$F$2:$F$3</c:f>
              <c:numCache>
                <c:formatCode>General</c:formatCode>
                <c:ptCount val="2"/>
                <c:pt idx="1">
                  <c:v>0.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47"/>
          <c:min val="0.1444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5</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5</a:t>
                    </a:r>
                  </a:p>
                  <a:p>
                    <a:r>
                      <a:t>0.5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5</c:v>
                </c:pt>
              </c:strCache>
            </c:strRef>
          </c:cat>
          <c:val>
            <c:numRef>
              <c:f>Sheet1!$C$2:$C$3</c:f>
              <c:numCache>
                <c:formatCode>General</c:formatCode>
                <c:ptCount val="2"/>
                <c:pt idx="1">
                  <c:v>0.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5</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5</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5</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086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8</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8</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8</c:v>
                </c:pt>
              </c:strCache>
            </c:strRef>
          </c:cat>
          <c:val>
            <c:numRef>
              <c:f>Sheet1!$C$2:$C$3</c:f>
              <c:numCache>
                <c:formatCode>General</c:formatCode>
                <c:ptCount val="2"/>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8</c:v>
                </c:pt>
              </c:strCache>
            </c:strRef>
          </c:cat>
          <c:val>
            <c:numRef>
              <c:f>Sheet1!$D$2:$D$3</c:f>
              <c:numCache>
                <c:formatCode>General</c:formatCode>
                <c:ptCount val="2"/>
                <c:pt idx="0">
                  <c:v>2.8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8</c:v>
                </c:pt>
              </c:strCache>
            </c:strRef>
          </c:cat>
          <c:val>
            <c:numRef>
              <c:f>Sheet1!$E$2:$E$3</c:f>
              <c:numCache>
                <c:formatCode>General</c:formatCode>
                <c:ptCount val="2"/>
                <c:pt idx="0">
                  <c:v>1.9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8</c:v>
                </c:pt>
              </c:strCache>
            </c:strRef>
          </c:cat>
          <c:val>
            <c:numRef>
              <c:f>Sheet1!$F$2:$F$3</c:f>
              <c:numCache>
                <c:formatCode>General</c:formatCode>
                <c:ptCount val="2"/>
                <c:pt idx="1">
                  <c:v>0.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404"/>
          <c:min val="0.1444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0</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0</a:t>
                    </a:r>
                  </a:p>
                  <a:p>
                    <a:r>
                      <a:t>0.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0</c:v>
                </c:pt>
              </c:strCache>
            </c:strRef>
          </c:cat>
          <c:val>
            <c:numRef>
              <c:f>Sheet1!$C$2:$C$3</c:f>
              <c:numCache>
                <c:formatCode>General</c:formatCode>
                <c:ptCount val="2"/>
                <c:pt idx="1">
                  <c:v>0.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0</c:v>
                </c:pt>
              </c:strCache>
            </c:strRef>
          </c:cat>
          <c:val>
            <c:numRef>
              <c:f>Sheet1!$D$2:$D$3</c:f>
              <c:numCache>
                <c:formatCode>General</c:formatCode>
                <c:ptCount val="2"/>
                <c:pt idx="0">
                  <c:v>2.8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0</c:v>
                </c:pt>
              </c:strCache>
            </c:strRef>
          </c:cat>
          <c:val>
            <c:numRef>
              <c:f>Sheet1!$E$2:$E$3</c:f>
              <c:numCache>
                <c:formatCode>General</c:formatCode>
                <c:ptCount val="2"/>
                <c:pt idx="0">
                  <c:v>1.9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0</c:v>
                </c:pt>
              </c:strCache>
            </c:strRef>
          </c:cat>
          <c:val>
            <c:numRef>
              <c:f>Sheet1!$F$2:$F$3</c:f>
              <c:numCache>
                <c:formatCode>General</c:formatCode>
                <c:ptCount val="2"/>
                <c:pt idx="1">
                  <c:v>0.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404"/>
          <c:min val="-0.1154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6</c:v>
                </c:pt>
                <c:pt idx="1">
                  <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6</a:t>
                    </a:r>
                  </a:p>
                  <a:p>
                    <a:r>
                      <a:t>5.8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6</c:v>
                </c:pt>
                <c:pt idx="1">
                  <c:v/>
                </c:pt>
              </c:strCache>
            </c:strRef>
          </c:cat>
          <c:val>
            <c:numRef>
              <c:f>Sheet1!$C$2:$C$3</c:f>
              <c:numCache>
                <c:formatCode>General</c:formatCode>
                <c:ptCount val="2"/>
                <c:pt idx="0">
                  <c:v>5.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6</c:v>
                </c:pt>
                <c:pt idx="1">
                  <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6</c:v>
                </c:pt>
                <c:pt idx="1">
                  <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6</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51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IX 158</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9</a:t>
                    </a:r>
                  </a:p>
                  <a:p>
                    <a:r>
                      <a:t>1.8</a:t>
                    </a:r>
                  </a:p>
                </c:rich>
              </c:tx>
              <c:dLblPos val="l"/>
              <c:showLegendKey val="0"/>
              <c:showVal val="1"/>
              <c:showCatName val="0"/>
              <c:showSerName val="0"/>
              <c:showPercent val="0"/>
              <c:showBubbleSize val="0"/>
            </c:dLbl>
            <c:dLbl>
              <c:idx val="1"/>
              <c:tx>
                <c:rich>
                  <a:bodyPr/>
                  <a:lstStyle/>
                  <a:p>
                    <a:r>
                      <a:t>IX 158</a:t>
                    </a:r>
                  </a:p>
                  <a:p>
                    <a:r>
                      <a:t>1.4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IX 158</c:v>
                </c:pt>
              </c:strCache>
            </c:strRef>
          </c:cat>
          <c:val>
            <c:numRef>
              <c:f>Sheet1!$C$2:$C$3</c:f>
              <c:numCache>
                <c:formatCode>General</c:formatCode>
                <c:ptCount val="2"/>
                <c:pt idx="0">
                  <c:v>1.8</c:v>
                </c:pt>
                <c:pt idx="1">
                  <c:v>1.4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IX 158</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IX 158</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9</c:v>
                </c:pt>
                <c:pt idx="1">
                  <c:v>IX 158</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169</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2.65</a:t>
                    </a:r>
                  </a:p>
                </c:rich>
              </c:tx>
              <c:dLblPos val="l"/>
              <c:showLegendKey val="0"/>
              <c:showVal val="1"/>
              <c:showCatName val="0"/>
              <c:showSerName val="0"/>
              <c:showPercent val="0"/>
              <c:showBubbleSize val="0"/>
            </c:dLbl>
            <c:dLbl>
              <c:idx val="1"/>
              <c:tx>
                <c:rich>
                  <a:bodyPr/>
                  <a:lstStyle/>
                  <a:p>
                    <a:r>
                      <a:t>IX 169</a:t>
                    </a:r>
                  </a:p>
                  <a:p>
                    <a:r>
                      <a:t>1.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169</c:v>
                </c:pt>
              </c:strCache>
            </c:strRef>
          </c:cat>
          <c:val>
            <c:numRef>
              <c:f>Sheet1!$C$2:$C$3</c:f>
              <c:numCache>
                <c:formatCode>General</c:formatCode>
                <c:ptCount val="2"/>
                <c:pt idx="0">
                  <c:v>2.65</c:v>
                </c:pt>
                <c:pt idx="1">
                  <c:v>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169</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169</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169</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1</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1</a:t>
                    </a:r>
                  </a:p>
                  <a:p>
                    <a:r>
                      <a:t>0.5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1</c:v>
                </c:pt>
              </c:strCache>
            </c:strRef>
          </c:cat>
          <c:val>
            <c:numRef>
              <c:f>Sheet1!$C$2:$C$3</c:f>
              <c:numCache>
                <c:formatCode>General</c:formatCode>
                <c:ptCount val="2"/>
                <c:pt idx="1">
                  <c:v>0.5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1</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1</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61</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0414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IX 281</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4</a:t>
                    </a:r>
                  </a:p>
                  <a:p>
                    <a:r>
                      <a:t>1.11</a:t>
                    </a:r>
                  </a:p>
                </c:rich>
              </c:tx>
              <c:dLblPos val="l"/>
              <c:showLegendKey val="0"/>
              <c:showVal val="1"/>
              <c:showCatName val="0"/>
              <c:showSerName val="0"/>
              <c:showPercent val="0"/>
              <c:showBubbleSize val="0"/>
            </c:dLbl>
            <c:dLbl>
              <c:idx val="1"/>
              <c:tx>
                <c:rich>
                  <a:bodyPr/>
                  <a:lstStyle/>
                  <a:p>
                    <a:r>
                      <a:t>IX 281</a:t>
                    </a:r>
                  </a:p>
                  <a:p>
                    <a:r>
                      <a:t>2.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IX 281</c:v>
                </c:pt>
              </c:strCache>
            </c:strRef>
          </c:cat>
          <c:val>
            <c:numRef>
              <c:f>Sheet1!$C$2:$C$3</c:f>
              <c:numCache>
                <c:formatCode>General</c:formatCode>
                <c:ptCount val="2"/>
                <c:pt idx="0">
                  <c:v>1.11</c:v>
                </c:pt>
                <c:pt idx="1">
                  <c:v>2.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IX 281</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IX 281</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4</c:v>
                </c:pt>
                <c:pt idx="1">
                  <c:v>IX 281</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2.2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
                </c:pt>
              </c:strCache>
            </c:strRef>
          </c:cat>
          <c:val>
            <c:numRef>
              <c:f>Sheet1!$C$2:$C$3</c:f>
              <c:numCache>
                <c:formatCode>General</c:formatCode>
                <c:ptCount val="2"/>
                <c:pt idx="0">
                  <c:v>2.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9</c:v>
                </c:pt>
                <c:pt idx="1">
                  <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ydro Stubble Erase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3.2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9</c:v>
                </c:pt>
                <c:pt idx="1">
                  <c:v/>
                </c:pt>
              </c:strCache>
            </c:strRef>
          </c:cat>
          <c:val>
            <c:numRef>
              <c:f>Sheet1!$C$2:$C$3</c:f>
              <c:numCache>
                <c:formatCode>General</c:formatCode>
                <c:ptCount val="2"/>
                <c:pt idx="0">
                  <c:v>3.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9</c:v>
                </c:pt>
                <c:pt idx="1">
                  <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9</c:v>
                </c:pt>
                <c:pt idx="1">
                  <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9</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62</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4</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62</a:t>
                    </a:r>
                  </a:p>
                  <a:p>
                    <a:r>
                      <a:t>2.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62</c:v>
                </c:pt>
              </c:strCache>
            </c:strRef>
          </c:cat>
          <c:val>
            <c:numRef>
              <c:f>Sheet1!$C$2:$C$3</c:f>
              <c:numCache>
                <c:formatCode>General</c:formatCode>
                <c:ptCount val="2"/>
                <c:pt idx="1">
                  <c:v>2.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62</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62</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62</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6</c:v>
                </c:pt>
                <c:pt idx="1">
                  <c:v>IX 260</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Quattro For Me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6</a:t>
                    </a:r>
                  </a:p>
                  <a:p>
                    <a:r>
                      <a:t>2.01</a:t>
                    </a:r>
                  </a:p>
                </c:rich>
              </c:tx>
              <c:dLblPos val="l"/>
              <c:showLegendKey val="0"/>
              <c:showVal val="1"/>
              <c:showCatName val="0"/>
              <c:showSerName val="0"/>
              <c:showPercent val="0"/>
              <c:showBubbleSize val="0"/>
            </c:dLbl>
            <c:dLbl>
              <c:idx val="1"/>
              <c:tx>
                <c:rich>
                  <a:bodyPr/>
                  <a:lstStyle/>
                  <a:p>
                    <a:r>
                      <a:t>IX 260</a:t>
                    </a:r>
                  </a:p>
                  <a:p>
                    <a:r>
                      <a:t>2.3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6</c:v>
                </c:pt>
                <c:pt idx="1">
                  <c:v>IX 260</c:v>
                </c:pt>
              </c:strCache>
            </c:strRef>
          </c:cat>
          <c:val>
            <c:numRef>
              <c:f>Sheet1!$C$2:$C$3</c:f>
              <c:numCache>
                <c:formatCode>General</c:formatCode>
                <c:ptCount val="2"/>
                <c:pt idx="0">
                  <c:v>2.01</c:v>
                </c:pt>
                <c:pt idx="1">
                  <c:v>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6</c:v>
                </c:pt>
                <c:pt idx="1">
                  <c:v>IX 260</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6</c:v>
                </c:pt>
                <c:pt idx="1">
                  <c:v>IX 260</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6</c:v>
                </c:pt>
                <c:pt idx="1">
                  <c:v>IX 260</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Injector</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8</a:t>
                    </a:r>
                  </a:p>
                  <a:p>
                    <a:r>
                      <a:t>0.8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C$2:$C$3</c:f>
              <c:numCache>
                <c:formatCode>General</c:formatCode>
                <c:ptCount val="2"/>
                <c:pt idx="0">
                  <c:v>0.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8</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5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5</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 Origina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5</a:t>
                    </a:r>
                  </a:p>
                  <a:p>
                    <a:r>
                      <a:t>1.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5</c:v>
                </c:pt>
              </c:strCache>
            </c:strRef>
          </c:cat>
          <c:val>
            <c:numRef>
              <c:f>Sheet1!$C$2:$C$3</c:f>
              <c:numCache>
                <c:formatCode>General</c:formatCode>
                <c:ptCount val="2"/>
                <c:pt idx="1">
                  <c:v>1.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5</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5</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5</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8</c:v>
                </c:pt>
                <c:pt idx="1">
                  <c:v>IX 337</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Xtreme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8</a:t>
                    </a:r>
                  </a:p>
                  <a:p>
                    <a:r>
                      <a:t>1.76</a:t>
                    </a:r>
                  </a:p>
                </c:rich>
              </c:tx>
              <c:dLblPos val="l"/>
              <c:showLegendKey val="0"/>
              <c:showVal val="1"/>
              <c:showCatName val="0"/>
              <c:showSerName val="0"/>
              <c:showPercent val="0"/>
              <c:showBubbleSize val="0"/>
            </c:dLbl>
            <c:dLbl>
              <c:idx val="1"/>
              <c:tx>
                <c:rich>
                  <a:bodyPr/>
                  <a:lstStyle/>
                  <a:p>
                    <a:r>
                      <a:t>IX 337</a:t>
                    </a:r>
                  </a:p>
                  <a:p>
                    <a:r>
                      <a:t>3.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8</c:v>
                </c:pt>
                <c:pt idx="1">
                  <c:v>IX 337</c:v>
                </c:pt>
              </c:strCache>
            </c:strRef>
          </c:cat>
          <c:val>
            <c:numRef>
              <c:f>Sheet1!$C$2:$C$3</c:f>
              <c:numCache>
                <c:formatCode>General</c:formatCode>
                <c:ptCount val="2"/>
                <c:pt idx="0">
                  <c:v>1.76</c:v>
                </c:pt>
                <c:pt idx="1">
                  <c:v>3.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8</c:v>
                </c:pt>
                <c:pt idx="1">
                  <c:v>IX 337</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8</c:v>
                </c:pt>
                <c:pt idx="1">
                  <c:v>IX 337</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8</c:v>
                </c:pt>
                <c:pt idx="1">
                  <c:v>IX 337</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5-Blad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1</a:t>
                    </a:r>
                  </a:p>
                  <a:p>
                    <a:r>
                      <a:t>2.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
                </c:pt>
              </c:strCache>
            </c:strRef>
          </c:cat>
          <c:val>
            <c:numRef>
              <c:f>Sheet1!$C$2:$C$3</c:f>
              <c:numCache>
                <c:formatCode>General</c:formatCode>
                <c:ptCount val="2"/>
                <c:pt idx="0">
                  <c:v>2.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1</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206</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a:t>
                    </a:r>
                  </a:p>
                  <a:p>
                    <a:r>
                      <a:t>1.16</a:t>
                    </a:r>
                  </a:p>
                </c:rich>
              </c:tx>
              <c:dLblPos val="l"/>
              <c:showLegendKey val="0"/>
              <c:showVal val="1"/>
              <c:showCatName val="0"/>
              <c:showSerName val="0"/>
              <c:showPercent val="0"/>
              <c:showBubbleSize val="0"/>
            </c:dLbl>
            <c:dLbl>
              <c:idx val="1"/>
              <c:tx>
                <c:rich>
                  <a:bodyPr/>
                  <a:lstStyle/>
                  <a:p>
                    <a:r>
                      <a:t>IX 206</a:t>
                    </a:r>
                  </a:p>
                  <a:p>
                    <a:r>
                      <a:t>1.8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206</c:v>
                </c:pt>
              </c:strCache>
            </c:strRef>
          </c:cat>
          <c:val>
            <c:numRef>
              <c:f>Sheet1!$C$2:$C$3</c:f>
              <c:numCache>
                <c:formatCode>General</c:formatCode>
                <c:ptCount val="2"/>
                <c:pt idx="0">
                  <c:v>1.16</c:v>
                </c:pt>
                <c:pt idx="1">
                  <c:v>1.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206</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206</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206</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6</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peed 3 Sensitiv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6</a:t>
                    </a:r>
                  </a:p>
                  <a:p>
                    <a:r>
                      <a:t>0.8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6</c:v>
                </c:pt>
              </c:strCache>
            </c:strRef>
          </c:cat>
          <c:val>
            <c:numRef>
              <c:f>Sheet1!$C$2:$C$3</c:f>
              <c:numCache>
                <c:formatCode>General</c:formatCode>
                <c:ptCount val="2"/>
                <c:pt idx="1">
                  <c:v>0.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6</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6</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96</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524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Essential 2</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C$2:$C$3</c:f>
              <c:numCache>
                <c:formatCode>General</c:formatCode>
                <c:ptCount val="2"/>
                <c:pt idx="1">
                  <c:v>0.1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21</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The Stylish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a:t>
                    </a:r>
                  </a:p>
                  <a:p>
                    <a:r>
                      <a:t>1.15</a:t>
                    </a:r>
                  </a:p>
                </c:rich>
              </c:tx>
              <c:dLblPos val="l"/>
              <c:showLegendKey val="0"/>
              <c:showVal val="1"/>
              <c:showCatName val="0"/>
              <c:showSerName val="0"/>
              <c:showPercent val="0"/>
              <c:showBubbleSize val="0"/>
            </c:dLbl>
            <c:dLbl>
              <c:idx val="1"/>
              <c:tx>
                <c:rich>
                  <a:bodyPr/>
                  <a:lstStyle/>
                  <a:p>
                    <a:r>
                      <a:t>IX 156</a:t>
                    </a:r>
                  </a:p>
                  <a:p>
                    <a:r>
                      <a:t>1.3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C$2:$C$3</c:f>
              <c:numCache>
                <c:formatCode>General</c:formatCode>
                <c:ptCount val="2"/>
                <c:pt idx="0">
                  <c:v>1.15</c:v>
                </c:pt>
                <c:pt idx="1">
                  <c:v>1.3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25</c:v>
                </c:pt>
                <c:pt idx="1">
                  <c:v>IX 156</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9</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aliber 4 Max</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89</a:t>
                    </a:r>
                  </a:p>
                  <a:p>
                    <a:r>
                      <a:t>0.7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9</c:v>
                </c:pt>
              </c:strCache>
            </c:strRef>
          </c:cat>
          <c:val>
            <c:numRef>
              <c:f>Sheet1!$C$2:$C$3</c:f>
              <c:numCache>
                <c:formatCode>General</c:formatCode>
                <c:ptCount val="2"/>
                <c:pt idx="1">
                  <c:v>0.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9</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9</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89</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28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asy Fit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1</a:t>
                    </a:r>
                  </a:p>
                  <a:p>
                    <a:r>
                      <a:t>1.4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
                </c:pt>
              </c:strCache>
            </c:strRef>
          </c:cat>
          <c:val>
            <c:numRef>
              <c:f>Sheet1!$C$2:$C$3</c:f>
              <c:numCache>
                <c:formatCode>General</c:formatCode>
                <c:ptCount val="2"/>
                <c:pt idx="0">
                  <c:v>1.4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31</c:v>
                </c:pt>
                <c:pt idx="1">
                  <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389700000000000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5</c:v>
                </c:pt>
                <c:pt idx="1">
                  <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5</a:t>
                    </a:r>
                  </a:p>
                  <a:p>
                    <a:r>
                      <a:t>2.3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5</c:v>
                </c:pt>
                <c:pt idx="1">
                  <c:v/>
                </c:pt>
              </c:strCache>
            </c:strRef>
          </c:cat>
          <c:val>
            <c:numRef>
              <c:f>Sheet1!$C$2:$C$3</c:f>
              <c:numCache>
                <c:formatCode>General</c:formatCode>
                <c:ptCount val="2"/>
                <c:pt idx="0">
                  <c:v>2.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5</c:v>
                </c:pt>
                <c:pt idx="1">
                  <c:v/>
                </c:pt>
              </c:strCache>
            </c:strRef>
          </c:cat>
          <c:val>
            <c:numRef>
              <c:f>Sheet1!$D$2:$D$3</c:f>
              <c:numCache>
                <c:formatCode>General</c:formatCode>
                <c:ptCount val="2"/>
                <c:pt idx="0">
                  <c:v>4.33</c:v>
                </c:pt>
                <c:pt idx="1">
                  <c:v>4.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5</c:v>
                </c:pt>
                <c:pt idx="1">
                  <c:v/>
                </c:pt>
              </c:strCache>
            </c:strRef>
          </c:cat>
          <c:val>
            <c:numRef>
              <c:f>Sheet1!$E$2:$E$3</c:f>
              <c:numCache>
                <c:formatCode>General</c:formatCode>
                <c:ptCount val="2"/>
                <c:pt idx="0">
                  <c:v>2.93</c:v>
                </c:pt>
                <c:pt idx="1">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5</c:v>
                </c:pt>
                <c:pt idx="1">
                  <c:v/>
                </c:pt>
              </c:strCache>
            </c:strRef>
          </c:cat>
          <c:val>
            <c:numRef>
              <c:f>Sheet1!$F$2:$F$3</c:f>
              <c:numCache>
                <c:formatCode>General</c:formatCode>
                <c:ptCount val="2"/>
                <c:pt idx="1">
                  <c:v>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727"/>
          <c:min val="0.3968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2</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 P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2</a:t>
                    </a:r>
                  </a:p>
                  <a:p>
                    <a:r>
                      <a:t>0.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2</c:v>
                </c:pt>
              </c:strCache>
            </c:strRef>
          </c:cat>
          <c:val>
            <c:numRef>
              <c:f>Sheet1!$C$2:$C$3</c:f>
              <c:numCache>
                <c:formatCode>General</c:formatCode>
                <c:ptCount val="2"/>
                <c:pt idx="1">
                  <c:v>0.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2</c:v>
                </c:pt>
              </c:strCache>
            </c:strRef>
          </c:cat>
          <c:val>
            <c:numRef>
              <c:f>Sheet1!$D$2:$D$3</c:f>
              <c:numCache>
                <c:formatCode>General</c:formatCode>
                <c:ptCount val="2"/>
                <c:pt idx="0">
                  <c:v>4.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ach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2</c:v>
                </c:pt>
              </c:strCache>
            </c:strRef>
          </c:cat>
          <c:val>
            <c:numRef>
              <c:f>Sheet1!$E$2:$E$3</c:f>
              <c:numCache>
                <c:formatCode>General</c:formatCode>
                <c:ptCount val="2"/>
                <c:pt idx="0">
                  <c:v>3.1</c:v>
                </c:pt>
                <c:pt idx="1">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ensor 2</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2</c:v>
                </c:pt>
              </c:strCache>
            </c:strRef>
          </c:cat>
          <c:val>
            <c:numRef>
              <c:f>Sheet1!$F$2:$F$3</c:f>
              <c:numCache>
                <c:formatCode>General</c:formatCode>
                <c:ptCount val="2"/>
                <c:pt idx="1">
                  <c:v>0.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4"/>
          <c:min val="-0.12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56</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2.25</a:t>
                    </a:r>
                  </a:p>
                </c:rich>
              </c:tx>
              <c:dLblPos val="l"/>
              <c:showLegendKey val="0"/>
              <c:showVal val="1"/>
              <c:showCatName val="0"/>
              <c:showSerName val="0"/>
              <c:showPercent val="0"/>
              <c:showBubbleSize val="0"/>
            </c:dLbl>
            <c:dLbl>
              <c:idx val="1"/>
              <c:tx>
                <c:rich>
                  <a:bodyPr/>
                  <a:lstStyle/>
                  <a:p>
                    <a:r>
                      <a:t>IX 56</a:t>
                    </a:r>
                  </a:p>
                  <a:p>
                    <a:r>
                      <a:t>3.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56</c:v>
                </c:pt>
              </c:strCache>
            </c:strRef>
          </c:cat>
          <c:val>
            <c:numRef>
              <c:f>Sheet1!$C$2:$C$3</c:f>
              <c:numCache>
                <c:formatCode>General</c:formatCode>
                <c:ptCount val="2"/>
                <c:pt idx="0">
                  <c:v>2.25</c:v>
                </c:pt>
                <c:pt idx="1">
                  <c:v>3.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56</c:v>
                </c:pt>
              </c:strCache>
            </c:strRef>
          </c:cat>
          <c:val>
            <c:numRef>
              <c:f>Sheet1!$D$2:$D$3</c:f>
              <c:numCache>
                <c:formatCode>General</c:formatCode>
                <c:ptCount val="2"/>
                <c:pt idx="0">
                  <c:v>3.4</c:v>
                </c:pt>
                <c:pt idx="1">
                  <c:v>5.7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56</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56</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878"/>
          <c:min val="1.7541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9</a:t>
                    </a:r>
                  </a:p>
                  <a:p>
                    <a:r>
                      <a:t>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C$2:$C$2</c:f>
              <c:numCache>
                <c:formatCode>General</c:formatCode>
                <c:ptCount val="1"/>
                <c:pt idx="0">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D$2:$D$2</c:f>
              <c:numCache>
                <c:formatCode>General</c:formatCode>
                <c:ptCount val="1"/>
                <c:pt idx="0">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E$2:$E$2</c:f>
              <c:numCache>
                <c:formatCode>General</c:formatCode>
                <c:ptCount val="1"/>
                <c:pt idx="0">
                  <c:v>0.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F$2:$F$2</c:f>
              <c:numCache>
                <c:formatCode>General</c:formatCode>
                <c:ptCount val="1"/>
                <c:pt idx="0">
                  <c:v>0.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292"/>
          <c:min val="0.1071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B$2:$B$3</c:f>
              <c:numCache>
                <c:formatCode>General</c:formatCode>
                <c:ptCount val="2"/>
                <c:pt idx="0">
                  <c:v>2.3</c:v>
                </c:pt>
                <c:pt idx="1">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4</a:t>
                    </a:r>
                  </a:p>
                  <a:p>
                    <a:r>
                      <a:t>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C$2:$C$3</c:f>
              <c:numCache>
                <c:formatCode>General</c:formatCode>
                <c:ptCount val="2"/>
                <c:pt idx="1">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D$2:$D$3</c:f>
              <c:numCache>
                <c:formatCode>General</c:formatCode>
                <c:ptCount val="2"/>
                <c:pt idx="0">
                  <c:v>2.3</c:v>
                </c:pt>
                <c:pt idx="1">
                  <c:v>3.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E$2:$E$3</c:f>
              <c:numCache>
                <c:formatCode>General</c:formatCode>
                <c:ptCount val="2"/>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F$2:$F$3</c:f>
              <c:numCache>
                <c:formatCode>General</c:formatCode>
                <c:ptCount val="2"/>
                <c:pt idx="1">
                  <c:v>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7"/>
          <c:min val="1.301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B$2:$B$2</c:f>
              <c:numCache>
                <c:formatCode>General</c:formatCode>
                <c:ptCount val="1"/>
                <c:pt idx="0">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2</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C$2:$C$2</c:f>
              <c:numCache>
                <c:formatCode>General</c:formatCode>
                <c:ptCount val="1"/>
                <c:pt idx="0">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D$2:$D$2</c:f>
              <c:numCache>
                <c:formatCode>General</c:formatCode>
                <c:ptCount val="1"/>
                <c:pt idx="0">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E$2:$E$2</c:f>
              <c:numCache>
                <c:formatCode>General</c:formatCode>
                <c:ptCount val="1"/>
                <c:pt idx="0">
                  <c:v>1.6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F$2:$F$2</c:f>
              <c:numCache>
                <c:formatCode>General</c:formatCode>
                <c:ptCount val="1"/>
                <c:pt idx="0">
                  <c:v>0.3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445"/>
          <c:min val="-0.1167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1</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4</a:t>
                    </a:r>
                  </a:p>
                  <a:p>
                    <a:r>
                      <a:t>2.32</a:t>
                    </a:r>
                  </a:p>
                </c:rich>
              </c:tx>
              <c:dLblPos val="l"/>
              <c:showLegendKey val="0"/>
              <c:showVal val="1"/>
              <c:showCatName val="0"/>
              <c:showSerName val="0"/>
              <c:showPercent val="0"/>
              <c:showBubbleSize val="0"/>
            </c:dLbl>
            <c:dLbl>
              <c:idx val="1"/>
              <c:tx>
                <c:rich>
                  <a:bodyPr/>
                  <a:lstStyle/>
                  <a:p>
                    <a:r>
                      <a:t>IX 61</a:t>
                    </a:r>
                  </a:p>
                  <a:p>
                    <a:r>
                      <a:t>3.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1</c:v>
                </c:pt>
              </c:strCache>
            </c:strRef>
          </c:cat>
          <c:val>
            <c:numRef>
              <c:f>Sheet1!$C$2:$C$3</c:f>
              <c:numCache>
                <c:formatCode>General</c:formatCode>
                <c:ptCount val="2"/>
                <c:pt idx="0">
                  <c:v>2.32</c:v>
                </c:pt>
                <c:pt idx="1">
                  <c:v>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1</c:v>
                </c:pt>
              </c:strCache>
            </c:strRef>
          </c:cat>
          <c:val>
            <c:numRef>
              <c:f>Sheet1!$D$2:$D$3</c:f>
              <c:numCache>
                <c:formatCode>General</c:formatCode>
                <c:ptCount val="2"/>
                <c:pt idx="0">
                  <c:v>3.62</c:v>
                </c:pt>
                <c:pt idx="1">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1</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1</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1.78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0.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C$2:$C$2</c:f>
              <c:numCache>
                <c:formatCode>General</c:formatCode>
                <c:ptCount val="1"/>
                <c:pt idx="0">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F$2:$F$2</c:f>
              <c:numCache>
                <c:formatCode>General</c:formatCode>
                <c:ptCount val="1"/>
                <c:pt idx="0">
                  <c:v>0.5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69"/>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IX 93</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3</a:t>
                    </a:r>
                  </a:p>
                  <a:p>
                    <a:r>
                      <a:t>3.18</a:t>
                    </a:r>
                  </a:p>
                </c:rich>
              </c:tx>
              <c:dLblPos val="l"/>
              <c:showLegendKey val="0"/>
              <c:showVal val="1"/>
              <c:showCatName val="0"/>
              <c:showSerName val="0"/>
              <c:showPercent val="0"/>
              <c:showBubbleSize val="0"/>
            </c:dLbl>
            <c:dLbl>
              <c:idx val="1"/>
              <c:tx>
                <c:rich>
                  <a:bodyPr/>
                  <a:lstStyle/>
                  <a:p>
                    <a:r>
                      <a:t>IX 93</a:t>
                    </a:r>
                  </a:p>
                  <a:p>
                    <a:r>
                      <a:t>5.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IX 93</c:v>
                </c:pt>
              </c:strCache>
            </c:strRef>
          </c:cat>
          <c:val>
            <c:numRef>
              <c:f>Sheet1!$C$2:$C$3</c:f>
              <c:numCache>
                <c:formatCode>General</c:formatCode>
                <c:ptCount val="2"/>
                <c:pt idx="0">
                  <c:v>3.18</c:v>
                </c:pt>
                <c:pt idx="1">
                  <c:v>5.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IX 93</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IX 93</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83</c:v>
                </c:pt>
                <c:pt idx="1">
                  <c:v>IX 93</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1.8081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Xtreme 3</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C$2:$C$3</c:f>
              <c:numCache>
                <c:formatCode>General</c:formatCode>
                <c:ptCount val="2"/>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1.8081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55</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ydro 5</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2.42</a:t>
                    </a:r>
                  </a:p>
                </c:rich>
              </c:tx>
              <c:dLblPos val="l"/>
              <c:showLegendKey val="0"/>
              <c:showVal val="1"/>
              <c:showCatName val="0"/>
              <c:showSerName val="0"/>
              <c:showPercent val="0"/>
              <c:showBubbleSize val="0"/>
            </c:dLbl>
            <c:dLbl>
              <c:idx val="1"/>
              <c:tx>
                <c:rich>
                  <a:bodyPr/>
                  <a:lstStyle/>
                  <a:p>
                    <a:r>
                      <a:t>IX 55</a:t>
                    </a:r>
                  </a:p>
                  <a:p>
                    <a:r>
                      <a:t>3.2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55</c:v>
                </c:pt>
              </c:strCache>
            </c:strRef>
          </c:cat>
          <c:val>
            <c:numRef>
              <c:f>Sheet1!$C$2:$C$3</c:f>
              <c:numCache>
                <c:formatCode>General</c:formatCode>
                <c:ptCount val="2"/>
                <c:pt idx="0">
                  <c:v>2.42</c:v>
                </c:pt>
                <c:pt idx="1">
                  <c:v>3.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Fusion 5</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55</c:v>
                </c:pt>
              </c:strCache>
            </c:strRef>
          </c:cat>
          <c:val>
            <c:numRef>
              <c:f>Sheet1!$D$2:$D$3</c:f>
              <c:numCache>
                <c:formatCode>General</c:formatCode>
                <c:ptCount val="2"/>
                <c:pt idx="0">
                  <c:v>3.84</c:v>
                </c:pt>
                <c:pt idx="1">
                  <c:v>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55</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 Flex5</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55</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4236"/>
          <c:min val="1.8081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3/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1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xml"/></Relationships>
</file>

<file path=ppt/notesSlides/_rels/notesSlide1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1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xml"/></Relationships>
</file>

<file path=ppt/notesSlides/_rels/notesSlide1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8.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1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xml"/></Relationships>
</file>

<file path=ppt/notesSlides/_rels/notesSlide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xml"/></Relationships>
</file>

<file path=ppt/notesSlides/_rels/notesSlide1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xml"/></Relationships>
</file>

<file path=ppt/notesSlides/_rels/notesSlide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xml"/></Relationships>
</file>

<file path=ppt/notesSlides/_rels/notesSlide1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xml"/></Relationships>
</file>

<file path=ppt/notesSlides/_rels/notesSlide1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xml"/></Relationships>
</file>

<file path=ppt/notesSlides/_rels/notesSlide1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3.xml"/></Relationships>
</file>

<file path=ppt/notesSlides/_rels/notesSlide1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6.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xml"/></Relationships>
</file>

<file path=ppt/notesSlides/_rels/notesSlide1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xml"/></Relationships>
</file>

<file path=ppt/notesSlides/_rels/notesSlide1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xml"/></Relationships>
</file>

<file path=ppt/notesSlides/_rels/notesSlide1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xml"/></Relationships>
</file>

<file path=ppt/notesSlides/_rels/notesSlide1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xml"/></Relationships>
</file>

<file path=ppt/notesSlides/_rels/notesSlide1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xml"/></Relationships>
</file>

<file path=ppt/notesSlides/_rels/notesSlide1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xml"/></Relationships>
</file>

<file path=ppt/notesSlides/_rels/notesSlide1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7.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xml"/></Relationships>
</file>

<file path=ppt/notesSlides/_rels/notesSlide1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1.xml"/></Relationships>
</file>

<file path=ppt/notesSlides/_rels/notesSlide1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xml"/></Relationships>
</file>

<file path=ppt/notesSlides/_rels/notesSlide1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3.xml"/></Relationships>
</file>

<file path=ppt/notesSlides/_rels/notesSlide1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4.xml"/></Relationships>
</file>

<file path=ppt/notesSlides/_rels/notesSlide1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xml"/></Relationships>
</file>

<file path=ppt/notesSlides/_rels/notesSlide1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xml"/></Relationships>
</file>

<file path=ppt/notesSlides/_rels/notesSlide1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8.xml"/></Relationships>
</file>

<file path=ppt/notesSlides/_rels/notesSlide1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xml"/></Relationships>
</file>

<file path=ppt/notesSlides/_rels/notesSlide1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xml"/></Relationships>
</file>

<file path=ppt/notesSlides/_rels/notesSlide1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2.xml"/></Relationships>
</file>

<file path=ppt/notesSlides/_rels/notesSlide1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xml"/></Relationships>
</file>

<file path=ppt/notesSlides/_rels/notesSlide1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xml"/></Relationships>
</file>

<file path=ppt/notesSlides/_rels/notesSlide1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5.xml"/></Relationships>
</file>

<file path=ppt/notesSlides/_rels/notesSlide1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xml"/></Relationships>
</file>

<file path=ppt/notesSlides/_rels/notesSlide1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7.xml"/></Relationships>
</file>

<file path=ppt/notesSlides/_rels/notesSlide1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8.xml"/></Relationships>
</file>

<file path=ppt/notesSlides/_rels/notesSlide1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xml"/></Relationships>
</file>

<file path=ppt/notesSlides/_rels/notesSlide1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xml"/></Relationships>
</file>

<file path=ppt/notesSlides/_rels/notesSlide1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xml"/></Relationships>
</file>

<file path=ppt/notesSlides/_rels/notesSlide1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3.xml"/></Relationships>
</file>

<file path=ppt/notesSlides/_rels/notesSlide1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xml"/></Relationships>
</file>

<file path=ppt/notesSlides/_rels/notesSlide1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xml"/></Relationships>
</file>

<file path=ppt/notesSlides/_rels/notesSlide1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6.xml"/></Relationships>
</file>

<file path=ppt/notesSlides/_rels/notesSlide1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xml"/></Relationships>
</file>

<file path=ppt/notesSlides/_rels/notesSlide1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xml"/></Relationships>
</file>

<file path=ppt/notesSlides/_rels/notesSlide1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0.xml"/></Relationships>
</file>

<file path=ppt/notesSlides/_rels/notesSlide1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xml"/></Relationships>
</file>

<file path=ppt/notesSlides/_rels/notesSlide1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2.xml"/></Relationships>
</file>

<file path=ppt/notesSlides/_rels/notesSlide1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xml"/></Relationships>
</file>

<file path=ppt/notesSlides/_rels/notesSlide1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xml"/></Relationships>
</file>

<file path=ppt/notesSlides/_rels/notesSlide1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5.xml"/></Relationships>
</file>

<file path=ppt/notesSlides/_rels/notesSlide1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xml"/></Relationships>
</file>

<file path=ppt/notesSlides/_rels/notesSlide1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7.xml"/></Relationships>
</file>

<file path=ppt/notesSlides/_rels/notesSlide1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xml"/></Relationships>
</file>

<file path=ppt/notesSlides/_rels/notesSlide1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xml"/></Relationships>
</file>

<file path=ppt/notesSlides/_rels/notesSlide2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xml"/></Relationships>
</file>

<file path=ppt/notesSlides/_rels/notesSlide2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2.xml"/></Relationships>
</file>

<file path=ppt/notesSlides/_rels/notesSlide2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3.xml"/></Relationships>
</file>

<file path=ppt/notesSlides/_rels/notesSlide2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4.xml"/></Relationships>
</file>

<file path=ppt/notesSlides/_rels/notesSlide2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5.xml"/></Relationships>
</file>

<file path=ppt/notesSlides/_rels/notesSlide2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6.xml"/></Relationships>
</file>

<file path=ppt/notesSlides/_rels/notesSlide2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7.xml"/></Relationships>
</file>

<file path=ppt/notesSlides/_rels/notesSlide2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8.xml"/></Relationships>
</file>

<file path=ppt/notesSlides/_rels/notesSlide2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9.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0.xml"/></Relationships>
</file>

<file path=ppt/notesSlides/_rels/notesSlide2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1.xml"/></Relationships>
</file>

<file path=ppt/notesSlides/_rels/notesSlide2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2.xml"/></Relationships>
</file>

<file path=ppt/notesSlides/_rels/notesSlide2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3.xml"/></Relationships>
</file>

<file path=ppt/notesSlides/_rels/notesSlide2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4.xml"/></Relationships>
</file>

<file path=ppt/notesSlides/_rels/notesSlide2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5.xml"/></Relationships>
</file>

<file path=ppt/notesSlides/_rels/notesSlide2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6.xml"/></Relationships>
</file>

<file path=ppt/notesSlides/_rels/notesSlide2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7.xml"/></Relationships>
</file>

<file path=ppt/notesSlides/_rels/notesSlide2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8.xml"/></Relationships>
</file>

<file path=ppt/notesSlides/_rels/notesSlide2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9.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0.xml"/></Relationships>
</file>

<file path=ppt/notesSlides/_rels/notesSlide2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1.xml"/></Relationships>
</file>

<file path=ppt/notesSlides/_rels/notesSlide2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2.xml"/></Relationships>
</file>

<file path=ppt/notesSlides/_rels/notesSlide2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3.xml"/></Relationships>
</file>

<file path=ppt/notesSlides/_rels/notesSlide2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4.xml"/></Relationships>
</file>

<file path=ppt/notesSlides/_rels/notesSlide2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5.xml"/></Relationships>
</file>

<file path=ppt/notesSlides/_rels/notesSlide2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6.xml"/></Relationships>
</file>

<file path=ppt/notesSlides/_rels/notesSlide2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7.xml"/></Relationships>
</file>

<file path=ppt/notesSlides/_rels/notesSlide2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8.xml"/></Relationships>
</file>

<file path=ppt/notesSlides/_rels/notesSlide2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9.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0.xml"/></Relationships>
</file>

<file path=ppt/notesSlides/_rels/notesSlide2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1.xml"/></Relationships>
</file>

<file path=ppt/notesSlides/_rels/notesSlide2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2.xml"/></Relationships>
</file>

<file path=ppt/notesSlides/_rels/notesSlide2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3.xml"/></Relationships>
</file>

<file path=ppt/notesSlides/_rels/notesSlide2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4.xml"/></Relationships>
</file>

<file path=ppt/notesSlides/_rels/notesSlide2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5.xml"/></Relationships>
</file>

<file path=ppt/notesSlides/_rels/notesSlide2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6.xml"/></Relationships>
</file>

<file path=ppt/notesSlides/_rels/notesSlide2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7.xml"/></Relationships>
</file>

<file path=ppt/notesSlides/_rels/notesSlide2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8.xml"/></Relationships>
</file>

<file path=ppt/notesSlides/_rels/notesSlide2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9.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0.xml"/></Relationships>
</file>

<file path=ppt/notesSlides/_rels/notesSlide2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1.xml"/></Relationships>
</file>

<file path=ppt/notesSlides/_rels/notesSlide2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2.xml"/></Relationships>
</file>

<file path=ppt/notesSlides/_rels/notesSlide2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3.xml"/></Relationships>
</file>

<file path=ppt/notesSlides/_rels/notesSlide2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4.xml"/></Relationships>
</file>

<file path=ppt/notesSlides/_rels/notesSlide2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5.xml"/></Relationships>
</file>

<file path=ppt/notesSlides/_rels/notesSlide2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6.xml"/></Relationships>
</file>

<file path=ppt/notesSlides/_rels/notesSlide2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7.xml"/></Relationships>
</file>

<file path=ppt/notesSlides/_rels/notesSlide2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8.xml"/></Relationships>
</file>

<file path=ppt/notesSlides/_rels/notesSlide2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9.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0.xml"/></Relationships>
</file>

<file path=ppt/notesSlides/_rels/notesSlide2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1.xml"/></Relationships>
</file>

<file path=ppt/notesSlides/_rels/notesSlide2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2.xml"/></Relationships>
</file>

<file path=ppt/notesSlides/_rels/notesSlide2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3.xml"/></Relationships>
</file>

<file path=ppt/notesSlides/_rels/notesSlide2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4.xml"/></Relationships>
</file>

<file path=ppt/notesSlides/_rels/notesSlide2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5.xml"/></Relationships>
</file>

<file path=ppt/notesSlides/_rels/notesSlide2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6.xml"/></Relationships>
</file>

<file path=ppt/notesSlides/_rels/notesSlide2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7.xml"/></Relationships>
</file>

<file path=ppt/notesSlides/_rels/notesSlide2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8.xml"/></Relationships>
</file>

<file path=ppt/notesSlides/_rels/notesSlide2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9.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0.xml"/></Relationships>
</file>

<file path=ppt/notesSlides/_rels/notesSlide2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1.xml"/></Relationships>
</file>

<file path=ppt/notesSlides/_rels/notesSlide2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2.xml"/></Relationships>
</file>

<file path=ppt/notesSlides/_rels/notesSlide2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3.xml"/></Relationships>
</file>

<file path=ppt/notesSlides/_rels/notesSlide2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4.xml"/></Relationships>
</file>

<file path=ppt/notesSlides/_rels/notesSlide2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5.xml"/></Relationships>
</file>

<file path=ppt/notesSlides/_rels/notesSlide2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6.xml"/></Relationships>
</file>

<file path=ppt/notesSlides/_rels/notesSlide2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7.xml"/></Relationships>
</file>

<file path=ppt/notesSlides/_rels/notesSlide2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8.xml"/></Relationships>
</file>

<file path=ppt/notesSlides/_rels/notesSlide2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0.xml"/></Relationships>
</file>

<file path=ppt/notesSlides/_rels/notesSlide2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1.xml"/></Relationships>
</file>

<file path=ppt/notesSlides/_rels/notesSlide2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2.xml"/></Relationships>
</file>

<file path=ppt/notesSlides/_rels/notesSlide2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3.xml"/></Relationships>
</file>

<file path=ppt/notesSlides/_rels/notesSlide2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4.xml"/></Relationships>
</file>

<file path=ppt/notesSlides/_rels/notesSlide2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5.xml"/></Relationships>
</file>

<file path=ppt/notesSlides/_rels/notesSlide2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6.xml"/></Relationships>
</file>

<file path=ppt/notesSlides/_rels/notesSlide2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7.xml"/></Relationships>
</file>

<file path=ppt/notesSlides/_rels/notesSlide2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8.xml"/></Relationships>
</file>

<file path=ppt/notesSlides/_rels/notesSlide2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9.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0.xml"/></Relationships>
</file>

<file path=ppt/notesSlides/_rels/notesSlide2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1.xml"/></Relationships>
</file>

<file path=ppt/notesSlides/_rels/notesSlide2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2.xml"/></Relationships>
</file>

<file path=ppt/notesSlides/_rels/notesSlide2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3.xml"/></Relationships>
</file>

<file path=ppt/notesSlides/_rels/notesSlide2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4.xml"/></Relationships>
</file>

<file path=ppt/notesSlides/_rels/notesSlide2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5.xml"/></Relationships>
</file>

<file path=ppt/notesSlides/_rels/notesSlide2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6.xml"/></Relationships>
</file>

<file path=ppt/notesSlides/_rels/notesSlide2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7.xml"/></Relationships>
</file>

<file path=ppt/notesSlides/_rels/notesSlide2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8.xml"/></Relationships>
</file>

<file path=ppt/notesSlides/_rels/notesSlide2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0.xml"/></Relationships>
</file>

<file path=ppt/notesSlides/_rels/notesSlide2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1.xml"/></Relationships>
</file>

<file path=ppt/notesSlides/_rels/notesSlide2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2.xml"/></Relationships>
</file>

<file path=ppt/notesSlides/_rels/notesSlide2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3.xml"/></Relationships>
</file>

<file path=ppt/notesSlides/_rels/notesSlide2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4.xml"/></Relationships>
</file>

<file path=ppt/notesSlides/_rels/notesSlide2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5.xml"/></Relationships>
</file>

<file path=ppt/notesSlides/_rels/notesSlide2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6.xml"/></Relationships>
</file>

<file path=ppt/notesSlides/_rels/notesSlide2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7.xml"/></Relationships>
</file>

<file path=ppt/notesSlides/_rels/notesSlide2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8.xml"/></Relationships>
</file>

<file path=ppt/notesSlides/_rels/notesSlide2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0.xml"/></Relationships>
</file>

<file path=ppt/notesSlides/_rels/notesSlide3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1.xml"/></Relationships>
</file>

<file path=ppt/notesSlides/_rels/notesSlide3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2.xml"/></Relationships>
</file>

<file path=ppt/notesSlides/_rels/notesSlide3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3.xml"/></Relationships>
</file>

<file path=ppt/notesSlides/_rels/notesSlide3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4.xml"/></Relationships>
</file>

<file path=ppt/notesSlides/_rels/notesSlide3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5.xml"/></Relationships>
</file>

<file path=ppt/notesSlides/_rels/notesSlide3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6.xml"/></Relationships>
</file>

<file path=ppt/notesSlides/_rels/notesSlide3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7.xml"/></Relationships>
</file>

<file path=ppt/notesSlides/_rels/notesSlide3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8.xml"/></Relationships>
</file>

<file path=ppt/notesSlides/_rels/notesSlide3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9.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0.xml"/></Relationships>
</file>

<file path=ppt/notesSlides/_rels/notesSlide3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1.xml"/></Relationships>
</file>

<file path=ppt/notesSlides/_rels/notesSlide3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2.xml"/></Relationships>
</file>

<file path=ppt/notesSlides/_rels/notesSlide3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3.xml"/></Relationships>
</file>

<file path=ppt/notesSlides/_rels/notesSlide3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4.xml"/></Relationships>
</file>

<file path=ppt/notesSlides/_rels/notesSlide3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5.xml"/></Relationships>
</file>

<file path=ppt/notesSlides/_rels/notesSlide3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6.xml"/></Relationships>
</file>

<file path=ppt/notesSlides/_rels/notesSlide3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7.xml"/></Relationships>
</file>

<file path=ppt/notesSlides/_rels/notesSlide3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8.xml"/></Relationships>
</file>

<file path=ppt/notesSlides/_rels/notesSlide3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9.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0.xml"/></Relationships>
</file>

<file path=ppt/notesSlides/_rels/notesSlide3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1.xml"/></Relationships>
</file>

<file path=ppt/notesSlides/_rels/notesSlide3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2.xml"/></Relationships>
</file>

<file path=ppt/notesSlides/_rels/notesSlide3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3.xml"/></Relationships>
</file>

<file path=ppt/notesSlides/_rels/notesSlide3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4.xml"/></Relationships>
</file>

<file path=ppt/notesSlides/_rels/notesSlide3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5.xml"/></Relationships>
</file>

<file path=ppt/notesSlides/_rels/notesSlide3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6.xml"/></Relationships>
</file>

<file path=ppt/notesSlides/_rels/notesSlide3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7.xml"/></Relationships>
</file>

<file path=ppt/notesSlides/_rels/notesSlide3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8.xml"/></Relationships>
</file>

<file path=ppt/notesSlides/_rels/notesSlide3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9.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0.xml"/></Relationships>
</file>

<file path=ppt/notesSlides/_rels/notesSlide3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1.xml"/></Relationships>
</file>

<file path=ppt/notesSlides/_rels/notesSlide3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2.xml"/></Relationships>
</file>

<file path=ppt/notesSlides/_rels/notesSlide3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3.xml"/></Relationships>
</file>

<file path=ppt/notesSlides/_rels/notesSlide3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4.xml"/></Relationships>
</file>

<file path=ppt/notesSlides/_rels/notesSlide3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5.xml"/></Relationships>
</file>

<file path=ppt/notesSlides/_rels/notesSlide3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6.xml"/></Relationships>
</file>

<file path=ppt/notesSlides/_rels/notesSlide3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7.xml"/></Relationships>
</file>

<file path=ppt/notesSlides/_rels/notesSlide3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8.xml"/></Relationships>
</file>

<file path=ppt/notesSlides/_rels/notesSlide3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9.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0.xml"/></Relationships>
</file>

<file path=ppt/notesSlides/_rels/notesSlide3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1.xml"/></Relationships>
</file>

<file path=ppt/notesSlides/_rels/notesSlide3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2.xml"/></Relationships>
</file>

<file path=ppt/notesSlides/_rels/notesSlide3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3.xml"/></Relationships>
</file>

<file path=ppt/notesSlides/_rels/notesSlide3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4.xml"/></Relationships>
</file>

<file path=ppt/notesSlides/_rels/notesSlide3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5.xml"/></Relationships>
</file>

<file path=ppt/notesSlides/_rels/notesSlide3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6.xml"/></Relationships>
</file>

<file path=ppt/notesSlides/_rels/notesSlide3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7.xml"/></Relationships>
</file>

<file path=ppt/notesSlides/_rels/notesSlide3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8.xml"/></Relationships>
</file>

<file path=ppt/notesSlides/_rels/notesSlide3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9.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0.xml"/></Relationships>
</file>

<file path=ppt/notesSlides/_rels/notesSlide3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1.xml"/></Relationships>
</file>

<file path=ppt/notesSlides/_rels/notesSlide3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2.xml"/></Relationships>
</file>

<file path=ppt/notesSlides/_rels/notesSlide3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3.xml"/></Relationships>
</file>

<file path=ppt/notesSlides/_rels/notesSlide3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4.xml"/></Relationships>
</file>

<file path=ppt/notesSlides/_rels/notesSlide3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5.xml"/></Relationships>
</file>

<file path=ppt/notesSlides/_rels/notesSlide3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6.xml"/></Relationships>
</file>

<file path=ppt/notesSlides/_rels/notesSlide3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7.xml"/></Relationships>
</file>

<file path=ppt/notesSlides/_rels/notesSlide3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8.xml"/></Relationships>
</file>

<file path=ppt/notesSlides/_rels/notesSlide3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9.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0.xml"/></Relationships>
</file>

<file path=ppt/notesSlides/_rels/notesSlide3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1.xml"/></Relationships>
</file>

<file path=ppt/notesSlides/_rels/notesSlide3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2.xml"/></Relationships>
</file>

<file path=ppt/notesSlides/_rels/notesSlide3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3.xml"/></Relationships>
</file>

<file path=ppt/notesSlides/_rels/notesSlide3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4.xml"/></Relationships>
</file>

<file path=ppt/notesSlides/_rels/notesSlide3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5.xml"/></Relationships>
</file>

<file path=ppt/notesSlides/_rels/notesSlide3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6.xml"/></Relationships>
</file>

<file path=ppt/notesSlides/_rels/notesSlide3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7.xml"/></Relationships>
</file>

<file path=ppt/notesSlides/_rels/notesSlide3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8.xml"/></Relationships>
</file>

<file path=ppt/notesSlides/_rels/notesSlide3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9.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0.xml"/></Relationships>
</file>

<file path=ppt/notesSlides/_rels/notesSlide3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1.xml"/></Relationships>
</file>

<file path=ppt/notesSlides/_rels/notesSlide3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2.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3/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notesSlide" Target="../notesSlides/notesSlide1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notesSlide" Target="../notesSlides/notesSlide1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notesSlide" Target="../notesSlides/notesSlide1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notesSlide" Target="../notesSlides/notesSlide1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notesSlide" Target="../notesSlides/notesSlide1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notesSlide" Target="../notesSlides/notesSlide1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notesSlide" Target="../notesSlides/notesSlide1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notesSlide" Target="../notesSlides/notesSlide1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notesSlide" Target="../notesSlides/notesSlide1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notesSlide" Target="../notesSlides/notesSlide1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notesSlide" Target="../notesSlides/notesSlide1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notesSlide" Target="../notesSlides/notesSlide1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notesSlide" Target="../notesSlides/notesSlide1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5.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notesSlide" Target="../notesSlides/notesSlide1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notesSlide" Target="../notesSlides/notesSlide1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notesSlide" Target="../notesSlides/notesSlide1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notesSlide" Target="../notesSlides/notesSlide1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notesSlide" Target="../notesSlides/notesSlide1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notesSlide" Target="../notesSlides/notesSlide1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notesSlide" Target="../notesSlides/notesSlide1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notesSlide" Target="../notesSlides/notesSlide1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notesSlide" Target="../notesSlides/notesSlide1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notesSlide" Target="../notesSlides/notesSlide1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notesSlide" Target="../notesSlides/notesSlide1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notesSlide" Target="../notesSlides/notesSlide1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notesSlide" Target="../notesSlides/notesSlide1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notesSlide" Target="../notesSlides/notesSlide1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notesSlide" Target="../notesSlides/notesSlide1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notesSlide" Target="../notesSlides/notesSlide1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notesSlide" Target="../notesSlides/notesSlide1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notesSlide" Target="../notesSlides/notesSlide1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notesSlide" Target="../notesSlides/notesSlide1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notesSlide" Target="../notesSlides/notesSlide1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notesSlide" Target="../notesSlides/notesSlide1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notesSlide" Target="../notesSlides/notesSlide1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notesSlide" Target="../notesSlides/notesSlide1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8.xml"/></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notesSlide" Target="../notesSlides/notesSlide1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9.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notesSlide" Target="../notesSlides/notesSlide1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0.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notesSlide" Target="../notesSlides/notesSlide1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1.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notesSlide" Target="../notesSlides/notesSlide1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2.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notesSlide" Target="../notesSlides/notesSlide1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3.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notesSlide" Target="../notesSlides/notesSlide1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notesSlide" Target="../notesSlides/notesSlide1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notesSlide" Target="../notesSlides/notesSlide1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6.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notesSlide" Target="../notesSlides/notesSlide1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7.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notesSlide" Target="../notesSlides/notesSlide1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8.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notesSlide" Target="../notesSlides/notesSlide1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9.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notesSlide" Target="../notesSlides/notesSlide1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0.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notesSlide" Target="../notesSlides/notesSlide1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1.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notesSlide" Target="../notesSlides/notesSlide1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2.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notesSlide" Target="../notesSlides/notesSlide1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notesSlide" Target="../notesSlides/notesSlide1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4.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notesSlide" Target="../notesSlides/notesSlide1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notesSlide" Target="../notesSlides/notesSlide1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6.xml"/></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notesSlide" Target="../notesSlides/notesSlide1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notesSlide" Target="../notesSlides/notesSlide1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8.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notesSlide" Target="../notesSlides/notesSlide1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9.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60.xml.rels><?xml version='1.0' encoding='UTF-8' standalone='yes'?>
<Relationships xmlns="http://schemas.openxmlformats.org/package/2006/relationships"><Relationship Id="rId1" Type="http://schemas.openxmlformats.org/officeDocument/2006/relationships/tags" Target="../tags/tag187.xml"/><Relationship Id="rId2" Type="http://schemas.openxmlformats.org/officeDocument/2006/relationships/slideLayout" Target="../slideLayouts/slideLayout7.xml"/><Relationship Id="rId3" Type="http://schemas.openxmlformats.org/officeDocument/2006/relationships/notesSlide" Target="../notesSlides/notesSlide1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0.xml"/></Relationships>
</file>

<file path=ppt/slides/_rels/slide161.xml.rels><?xml version='1.0' encoding='UTF-8' standalone='yes'?>
<Relationships xmlns="http://schemas.openxmlformats.org/package/2006/relationships"><Relationship Id="rId1" Type="http://schemas.openxmlformats.org/officeDocument/2006/relationships/tags" Target="../tags/tag188.xml"/><Relationship Id="rId2" Type="http://schemas.openxmlformats.org/officeDocument/2006/relationships/slideLayout" Target="../slideLayouts/slideLayout7.xml"/><Relationship Id="rId3" Type="http://schemas.openxmlformats.org/officeDocument/2006/relationships/notesSlide" Target="../notesSlides/notesSlide1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notesSlide" Target="../notesSlides/notesSlide1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2.xml"/></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notesSlide" Target="../notesSlides/notesSlide1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3.xml"/></Relationships>
</file>

<file path=ppt/slides/_rels/slide164.xml.rels><?xml version='1.0' encoding='UTF-8' standalone='yes'?>
<Relationships xmlns="http://schemas.openxmlformats.org/package/2006/relationships"><Relationship Id="rId1" Type="http://schemas.openxmlformats.org/officeDocument/2006/relationships/tags" Target="../tags/tag191.xml"/><Relationship Id="rId2" Type="http://schemas.openxmlformats.org/officeDocument/2006/relationships/slideLayout" Target="../slideLayouts/slideLayout7.xml"/><Relationship Id="rId3" Type="http://schemas.openxmlformats.org/officeDocument/2006/relationships/notesSlide" Target="../notesSlides/notesSlide1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4.xml"/></Relationships>
</file>

<file path=ppt/slides/_rels/slide165.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notesSlide" Target="../notesSlides/notesSlide1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5.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notesSlide" Target="../notesSlides/notesSlide1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s>
</file>

<file path=ppt/slides/_rels/slide167.xml.rels><?xml version='1.0' encoding='UTF-8' standalone='yes'?>
<Relationships xmlns="http://schemas.openxmlformats.org/package/2006/relationships"><Relationship Id="rId1" Type="http://schemas.openxmlformats.org/officeDocument/2006/relationships/tags" Target="../tags/tag194.xml"/><Relationship Id="rId2" Type="http://schemas.openxmlformats.org/officeDocument/2006/relationships/slideLayout" Target="../slideLayouts/slideLayout7.xml"/><Relationship Id="rId3" Type="http://schemas.openxmlformats.org/officeDocument/2006/relationships/notesSlide" Target="../notesSlides/notesSlide1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7.xml"/></Relationships>
</file>

<file path=ppt/slides/_rels/slide168.xml.rels><?xml version='1.0' encoding='UTF-8' standalone='yes'?>
<Relationships xmlns="http://schemas.openxmlformats.org/package/2006/relationships"><Relationship Id="rId1" Type="http://schemas.openxmlformats.org/officeDocument/2006/relationships/tags" Target="../tags/tag195.xml"/><Relationship Id="rId2" Type="http://schemas.openxmlformats.org/officeDocument/2006/relationships/slideLayout" Target="../slideLayouts/slideLayout7.xml"/><Relationship Id="rId3" Type="http://schemas.openxmlformats.org/officeDocument/2006/relationships/notesSlide" Target="../notesSlides/notesSlide1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8.xml"/></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notesSlide" Target="../notesSlides/notesSlide1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70.xml.rels><?xml version='1.0' encoding='UTF-8' standalone='yes'?>
<Relationships xmlns="http://schemas.openxmlformats.org/package/2006/relationships"><Relationship Id="rId1" Type="http://schemas.openxmlformats.org/officeDocument/2006/relationships/tags" Target="../tags/tag197.xml"/><Relationship Id="rId2" Type="http://schemas.openxmlformats.org/officeDocument/2006/relationships/slideLayout" Target="../slideLayouts/slideLayout7.xml"/><Relationship Id="rId3" Type="http://schemas.openxmlformats.org/officeDocument/2006/relationships/notesSlide" Target="../notesSlides/notesSlide1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0.xml"/></Relationships>
</file>

<file path=ppt/slides/_rels/slide171.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notesSlide" Target="../notesSlides/notesSlide1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1.xml"/></Relationships>
</file>

<file path=ppt/slides/_rels/slide172.xml.rels><?xml version='1.0' encoding='UTF-8' standalone='yes'?>
<Relationships xmlns="http://schemas.openxmlformats.org/package/2006/relationships"><Relationship Id="rId1" Type="http://schemas.openxmlformats.org/officeDocument/2006/relationships/tags" Target="../tags/tag199.xml"/><Relationship Id="rId2" Type="http://schemas.openxmlformats.org/officeDocument/2006/relationships/slideLayout" Target="../slideLayouts/slideLayout7.xml"/><Relationship Id="rId3" Type="http://schemas.openxmlformats.org/officeDocument/2006/relationships/notesSlide" Target="../notesSlides/notesSlide1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2.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notesSlide" Target="../notesSlides/notesSlide1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3.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notesSlide" Target="../notesSlides/notesSlide1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4.xml"/></Relationships>
</file>

<file path=ppt/slides/_rels/slide175.xml.rels><?xml version='1.0' encoding='UTF-8' standalone='yes'?>
<Relationships xmlns="http://schemas.openxmlformats.org/package/2006/relationships"><Relationship Id="rId1" Type="http://schemas.openxmlformats.org/officeDocument/2006/relationships/tags" Target="../tags/tag202.xml"/><Relationship Id="rId2" Type="http://schemas.openxmlformats.org/officeDocument/2006/relationships/slideLayout" Target="../slideLayouts/slideLayout7.xml"/><Relationship Id="rId3" Type="http://schemas.openxmlformats.org/officeDocument/2006/relationships/notesSlide" Target="../notesSlides/notesSlide1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5.xml"/></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notesSlide" Target="../notesSlides/notesSlide1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6.xml"/></Relationships>
</file>

<file path=ppt/slides/_rels/slide177.xml.rels><?xml version='1.0' encoding='UTF-8' standalone='yes'?>
<Relationships xmlns="http://schemas.openxmlformats.org/package/2006/relationships"><Relationship Id="rId1" Type="http://schemas.openxmlformats.org/officeDocument/2006/relationships/tags" Target="../tags/tag204.xml"/><Relationship Id="rId2" Type="http://schemas.openxmlformats.org/officeDocument/2006/relationships/slideLayout" Target="../slideLayouts/slideLayout7.xml"/><Relationship Id="rId3" Type="http://schemas.openxmlformats.org/officeDocument/2006/relationships/notesSlide" Target="../notesSlides/notesSlide1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s>
</file>

<file path=ppt/slides/_rels/slide178.xml.rels><?xml version='1.0' encoding='UTF-8' standalone='yes'?>
<Relationships xmlns="http://schemas.openxmlformats.org/package/2006/relationships"><Relationship Id="rId1" Type="http://schemas.openxmlformats.org/officeDocument/2006/relationships/tags" Target="../tags/tag205.xml"/><Relationship Id="rId2" Type="http://schemas.openxmlformats.org/officeDocument/2006/relationships/slideLayout" Target="../slideLayouts/slideLayout7.xml"/><Relationship Id="rId3" Type="http://schemas.openxmlformats.org/officeDocument/2006/relationships/notesSlide" Target="../notesSlides/notesSlide1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8.xml"/></Relationships>
</file>

<file path=ppt/slides/_rels/slide179.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notesSlide" Target="../notesSlides/notesSlide1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9.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notesSlide" Target="../notesSlides/notesSlide1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0.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notesSlide" Target="../notesSlides/notesSlide1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s>
</file>

<file path=ppt/slides/_rels/slide182.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notesSlide" Target="../notesSlides/notesSlide1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2.xml"/></Relationships>
</file>

<file path=ppt/slides/_rels/slide183.xml.rels><?xml version='1.0' encoding='UTF-8' standalone='yes'?>
<Relationships xmlns="http://schemas.openxmlformats.org/package/2006/relationships"><Relationship Id="rId1" Type="http://schemas.openxmlformats.org/officeDocument/2006/relationships/tags" Target="../tags/tag210.xml"/><Relationship Id="rId2" Type="http://schemas.openxmlformats.org/officeDocument/2006/relationships/slideLayout" Target="../slideLayouts/slideLayout7.xml"/><Relationship Id="rId3" Type="http://schemas.openxmlformats.org/officeDocument/2006/relationships/notesSlide" Target="../notesSlides/notesSlide1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3.xml"/></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notesSlide" Target="../notesSlides/notesSlide1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4.xml"/></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notesSlide" Target="../notesSlides/notesSlide1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notesSlide" Target="../notesSlides/notesSlide1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6.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notesSlide" Target="../notesSlides/notesSlide1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7.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notesSlide" Target="../notesSlides/notesSlide1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s>
</file>

<file path=ppt/slides/_rels/slide189.xml.rels><?xml version='1.0' encoding='UTF-8' standalone='yes'?>
<Relationships xmlns="http://schemas.openxmlformats.org/package/2006/relationships"><Relationship Id="rId1" Type="http://schemas.openxmlformats.org/officeDocument/2006/relationships/tags" Target="../tags/tag216.xml"/><Relationship Id="rId2" Type="http://schemas.openxmlformats.org/officeDocument/2006/relationships/slideLayout" Target="../slideLayouts/slideLayout7.xml"/><Relationship Id="rId3" Type="http://schemas.openxmlformats.org/officeDocument/2006/relationships/notesSlide" Target="../notesSlides/notesSlide1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9.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190.xml.rels><?xml version='1.0' encoding='UTF-8' standalone='yes'?>
<Relationships xmlns="http://schemas.openxmlformats.org/package/2006/relationships"><Relationship Id="rId1" Type="http://schemas.openxmlformats.org/officeDocument/2006/relationships/tags" Target="../tags/tag217.xml"/><Relationship Id="rId2" Type="http://schemas.openxmlformats.org/officeDocument/2006/relationships/slideLayout" Target="../slideLayouts/slideLayout7.xml"/><Relationship Id="rId3" Type="http://schemas.openxmlformats.org/officeDocument/2006/relationships/notesSlide" Target="../notesSlides/notesSlide1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0.xml"/></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notesSlide" Target="../notesSlides/notesSlide1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1.xml"/></Relationships>
</file>

<file path=ppt/slides/_rels/slide192.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notesSlide" Target="../notesSlides/notesSlide1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2.xml"/></Relationships>
</file>

<file path=ppt/slides/_rels/slide193.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notesSlide" Target="../notesSlides/notesSlide1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s>
</file>

<file path=ppt/slides/_rels/slide194.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notesSlide" Target="../notesSlides/notesSlide1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4.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notesSlide" Target="../notesSlides/notesSlide1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5.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notesSlide" Target="../notesSlides/notesSlide1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6.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notesSlide" Target="../notesSlides/notesSlide1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7.xml"/></Relationships>
</file>

<file path=ppt/slides/_rels/slide198.xml.rels><?xml version='1.0' encoding='UTF-8' standalone='yes'?>
<Relationships xmlns="http://schemas.openxmlformats.org/package/2006/relationships"><Relationship Id="rId1" Type="http://schemas.openxmlformats.org/officeDocument/2006/relationships/tags" Target="../tags/tag225.xml"/><Relationship Id="rId2" Type="http://schemas.openxmlformats.org/officeDocument/2006/relationships/slideLayout" Target="../slideLayouts/slideLayout7.xml"/><Relationship Id="rId3" Type="http://schemas.openxmlformats.org/officeDocument/2006/relationships/notesSlide" Target="../notesSlides/notesSlide1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8.xml"/></Relationships>
</file>

<file path=ppt/slides/_rels/slide199.xml.rels><?xml version='1.0' encoding='UTF-8' standalone='yes'?>
<Relationships xmlns="http://schemas.openxmlformats.org/package/2006/relationships"><Relationship Id="rId1" Type="http://schemas.openxmlformats.org/officeDocument/2006/relationships/tags" Target="../tags/tag226.xml"/><Relationship Id="rId2" Type="http://schemas.openxmlformats.org/officeDocument/2006/relationships/slideLayout" Target="../slideLayouts/slideLayout7.xml"/><Relationship Id="rId3" Type="http://schemas.openxmlformats.org/officeDocument/2006/relationships/notesSlide" Target="../notesSlides/notesSlide1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00.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notesSlide" Target="../notesSlides/notesSlide2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0.xml"/></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notesSlide" Target="../notesSlides/notesSlide2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s>
</file>

<file path=ppt/slides/_rels/slide202.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slideLayout" Target="../slideLayouts/slideLayout7.xml"/><Relationship Id="rId3" Type="http://schemas.openxmlformats.org/officeDocument/2006/relationships/notesSlide" Target="../notesSlides/notesSlide2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2.xml"/></Relationships>
</file>

<file path=ppt/slides/_rels/slide203.xml.rels><?xml version='1.0' encoding='UTF-8' standalone='yes'?>
<Relationships xmlns="http://schemas.openxmlformats.org/package/2006/relationships"><Relationship Id="rId1" Type="http://schemas.openxmlformats.org/officeDocument/2006/relationships/tags" Target="../tags/tag230.xml"/><Relationship Id="rId2" Type="http://schemas.openxmlformats.org/officeDocument/2006/relationships/slideLayout" Target="../slideLayouts/slideLayout7.xml"/><Relationship Id="rId3" Type="http://schemas.openxmlformats.org/officeDocument/2006/relationships/notesSlide" Target="../notesSlides/notesSlide2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3.xml"/></Relationships>
</file>

<file path=ppt/slides/_rels/slide204.xml.rels><?xml version='1.0' encoding='UTF-8' standalone='yes'?>
<Relationships xmlns="http://schemas.openxmlformats.org/package/2006/relationships"><Relationship Id="rId1" Type="http://schemas.openxmlformats.org/officeDocument/2006/relationships/tags" Target="../tags/tag231.xml"/><Relationship Id="rId2" Type="http://schemas.openxmlformats.org/officeDocument/2006/relationships/slideLayout" Target="../slideLayouts/slideLayout7.xml"/><Relationship Id="rId3" Type="http://schemas.openxmlformats.org/officeDocument/2006/relationships/notesSlide" Target="../notesSlides/notesSlide2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4.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notesSlide" Target="../notesSlides/notesSlide2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s>
</file>

<file path=ppt/slides/_rels/slide206.xml.rels><?xml version='1.0' encoding='UTF-8' standalone='yes'?>
<Relationships xmlns="http://schemas.openxmlformats.org/package/2006/relationships"><Relationship Id="rId1" Type="http://schemas.openxmlformats.org/officeDocument/2006/relationships/tags" Target="../tags/tag233.xml"/><Relationship Id="rId2" Type="http://schemas.openxmlformats.org/officeDocument/2006/relationships/slideLayout" Target="../slideLayouts/slideLayout7.xml"/><Relationship Id="rId3" Type="http://schemas.openxmlformats.org/officeDocument/2006/relationships/notesSlide" Target="../notesSlides/notesSlide2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6.xml"/></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notesSlide" Target="../notesSlides/notesSlide2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7.xml"/></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notesSlide" Target="../notesSlides/notesSlide2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8.xml"/></Relationships>
</file>

<file path=ppt/slides/_rels/slide209.xml.rels><?xml version='1.0' encoding='UTF-8' standalone='yes'?>
<Relationships xmlns="http://schemas.openxmlformats.org/package/2006/relationships"><Relationship Id="rId1" Type="http://schemas.openxmlformats.org/officeDocument/2006/relationships/tags" Target="../tags/tag236.xml"/><Relationship Id="rId2" Type="http://schemas.openxmlformats.org/officeDocument/2006/relationships/slideLayout" Target="../slideLayouts/slideLayout7.xml"/><Relationship Id="rId3" Type="http://schemas.openxmlformats.org/officeDocument/2006/relationships/notesSlide" Target="../notesSlides/notesSlide2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10.xml.rels><?xml version='1.0' encoding='UTF-8' standalone='yes'?>
<Relationships xmlns="http://schemas.openxmlformats.org/package/2006/relationships"><Relationship Id="rId1" Type="http://schemas.openxmlformats.org/officeDocument/2006/relationships/tags" Target="../tags/tag237.xml"/><Relationship Id="rId2" Type="http://schemas.openxmlformats.org/officeDocument/2006/relationships/slideLayout" Target="../slideLayouts/slideLayout7.xml"/><Relationship Id="rId3" Type="http://schemas.openxmlformats.org/officeDocument/2006/relationships/notesSlide" Target="../notesSlides/notesSlide2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notesSlide" Target="../notesSlides/notesSlide2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1.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notesSlide" Target="../notesSlides/notesSlide2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2.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notesSlide" Target="../notesSlides/notesSlide2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3.xml"/></Relationships>
</file>

<file path=ppt/slides/_rels/slide214.xml.rels><?xml version='1.0' encoding='UTF-8' standalone='yes'?>
<Relationships xmlns="http://schemas.openxmlformats.org/package/2006/relationships"><Relationship Id="rId1" Type="http://schemas.openxmlformats.org/officeDocument/2006/relationships/tags" Target="../tags/tag241.xml"/><Relationship Id="rId2" Type="http://schemas.openxmlformats.org/officeDocument/2006/relationships/slideLayout" Target="../slideLayouts/slideLayout7.xml"/><Relationship Id="rId3" Type="http://schemas.openxmlformats.org/officeDocument/2006/relationships/notesSlide" Target="../notesSlides/notesSlide2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4.xml"/></Relationships>
</file>

<file path=ppt/slides/_rels/slide215.xml.rels><?xml version='1.0' encoding='UTF-8' standalone='yes'?>
<Relationships xmlns="http://schemas.openxmlformats.org/package/2006/relationships"><Relationship Id="rId1" Type="http://schemas.openxmlformats.org/officeDocument/2006/relationships/tags" Target="../tags/tag242.xml"/><Relationship Id="rId2" Type="http://schemas.openxmlformats.org/officeDocument/2006/relationships/slideLayout" Target="../slideLayouts/slideLayout7.xml"/><Relationship Id="rId3" Type="http://schemas.openxmlformats.org/officeDocument/2006/relationships/notesSlide" Target="../notesSlides/notesSlide2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5.xml"/></Relationships>
</file>

<file path=ppt/slides/_rels/slide216.xml.rels><?xml version='1.0' encoding='UTF-8' standalone='yes'?>
<Relationships xmlns="http://schemas.openxmlformats.org/package/2006/relationships"><Relationship Id="rId1" Type="http://schemas.openxmlformats.org/officeDocument/2006/relationships/tags" Target="../tags/tag243.xml"/><Relationship Id="rId2" Type="http://schemas.openxmlformats.org/officeDocument/2006/relationships/slideLayout" Target="../slideLayouts/slideLayout7.xml"/><Relationship Id="rId3" Type="http://schemas.openxmlformats.org/officeDocument/2006/relationships/notesSlide" Target="../notesSlides/notesSlide2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6.xml"/></Relationships>
</file>

<file path=ppt/slides/_rels/slide217.xml.rels><?xml version='1.0' encoding='UTF-8' standalone='yes'?>
<Relationships xmlns="http://schemas.openxmlformats.org/package/2006/relationships"><Relationship Id="rId1" Type="http://schemas.openxmlformats.org/officeDocument/2006/relationships/tags" Target="../tags/tag244.xml"/><Relationship Id="rId2" Type="http://schemas.openxmlformats.org/officeDocument/2006/relationships/slideLayout" Target="../slideLayouts/slideLayout7.xml"/><Relationship Id="rId3" Type="http://schemas.openxmlformats.org/officeDocument/2006/relationships/notesSlide" Target="../notesSlides/notesSlide2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notesSlide" Target="../notesSlides/notesSlide2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8.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notesSlide" Target="../notesSlides/notesSlide2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9.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20.xml.rels><?xml version='1.0' encoding='UTF-8' standalone='yes'?>
<Relationships xmlns="http://schemas.openxmlformats.org/package/2006/relationships"><Relationship Id="rId1" Type="http://schemas.openxmlformats.org/officeDocument/2006/relationships/tags" Target="../tags/tag247.xml"/><Relationship Id="rId2" Type="http://schemas.openxmlformats.org/officeDocument/2006/relationships/slideLayout" Target="../slideLayouts/slideLayout7.xml"/><Relationship Id="rId3" Type="http://schemas.openxmlformats.org/officeDocument/2006/relationships/notesSlide" Target="../notesSlides/notesSlide2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0.xml"/></Relationships>
</file>

<file path=ppt/slides/_rels/slide221.xml.rels><?xml version='1.0' encoding='UTF-8' standalone='yes'?>
<Relationships xmlns="http://schemas.openxmlformats.org/package/2006/relationships"><Relationship Id="rId1" Type="http://schemas.openxmlformats.org/officeDocument/2006/relationships/tags" Target="../tags/tag248.xml"/><Relationship Id="rId2" Type="http://schemas.openxmlformats.org/officeDocument/2006/relationships/slideLayout" Target="../slideLayouts/slideLayout7.xml"/><Relationship Id="rId3" Type="http://schemas.openxmlformats.org/officeDocument/2006/relationships/notesSlide" Target="../notesSlides/notesSlide2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s>
</file>

<file path=ppt/slides/_rels/slide222.xml.rels><?xml version='1.0' encoding='UTF-8' standalone='yes'?>
<Relationships xmlns="http://schemas.openxmlformats.org/package/2006/relationships"><Relationship Id="rId1" Type="http://schemas.openxmlformats.org/officeDocument/2006/relationships/tags" Target="../tags/tag249.xml"/><Relationship Id="rId2" Type="http://schemas.openxmlformats.org/officeDocument/2006/relationships/slideLayout" Target="../slideLayouts/slideLayout7.xml"/><Relationship Id="rId3" Type="http://schemas.openxmlformats.org/officeDocument/2006/relationships/notesSlide" Target="../notesSlides/notesSlide2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2.xml"/></Relationships>
</file>

<file path=ppt/slides/_rels/slide223.xml.rels><?xml version='1.0' encoding='UTF-8' standalone='yes'?>
<Relationships xmlns="http://schemas.openxmlformats.org/package/2006/relationships"><Relationship Id="rId1" Type="http://schemas.openxmlformats.org/officeDocument/2006/relationships/tags" Target="../tags/tag250.xml"/><Relationship Id="rId2" Type="http://schemas.openxmlformats.org/officeDocument/2006/relationships/slideLayout" Target="../slideLayouts/slideLayout7.xml"/><Relationship Id="rId3" Type="http://schemas.openxmlformats.org/officeDocument/2006/relationships/notesSlide" Target="../notesSlides/notesSlide2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3.xml"/></Relationships>
</file>

<file path=ppt/slides/_rels/slide224.xml.rels><?xml version='1.0' encoding='UTF-8' standalone='yes'?>
<Relationships xmlns="http://schemas.openxmlformats.org/package/2006/relationships"><Relationship Id="rId1" Type="http://schemas.openxmlformats.org/officeDocument/2006/relationships/tags" Target="../tags/tag251.xml"/><Relationship Id="rId2" Type="http://schemas.openxmlformats.org/officeDocument/2006/relationships/slideLayout" Target="../slideLayouts/slideLayout7.xml"/><Relationship Id="rId3" Type="http://schemas.openxmlformats.org/officeDocument/2006/relationships/notesSlide" Target="../notesSlides/notesSlide2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4.xml"/></Relationships>
</file>

<file path=ppt/slides/_rels/slide225.xml.rels><?xml version='1.0' encoding='UTF-8' standalone='yes'?>
<Relationships xmlns="http://schemas.openxmlformats.org/package/2006/relationships"><Relationship Id="rId1" Type="http://schemas.openxmlformats.org/officeDocument/2006/relationships/tags" Target="../tags/tag252.xml"/><Relationship Id="rId2" Type="http://schemas.openxmlformats.org/officeDocument/2006/relationships/slideLayout" Target="../slideLayouts/slideLayout7.xml"/><Relationship Id="rId3" Type="http://schemas.openxmlformats.org/officeDocument/2006/relationships/notesSlide" Target="../notesSlides/notesSlide2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notesSlide" Target="../notesSlides/notesSlide2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6.xml"/></Relationships>
</file>

<file path=ppt/slides/_rels/slide227.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Layout" Target="../slideLayouts/slideLayout7.xml"/><Relationship Id="rId3" Type="http://schemas.openxmlformats.org/officeDocument/2006/relationships/notesSlide" Target="../notesSlides/notesSlide2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7.xml"/></Relationships>
</file>

<file path=ppt/slides/_rels/slide228.xml.rels><?xml version='1.0' encoding='UTF-8' standalone='yes'?>
<Relationships xmlns="http://schemas.openxmlformats.org/package/2006/relationships"><Relationship Id="rId1" Type="http://schemas.openxmlformats.org/officeDocument/2006/relationships/tags" Target="../tags/tag255.xml"/><Relationship Id="rId2" Type="http://schemas.openxmlformats.org/officeDocument/2006/relationships/slideLayout" Target="../slideLayouts/slideLayout7.xml"/><Relationship Id="rId3" Type="http://schemas.openxmlformats.org/officeDocument/2006/relationships/notesSlide" Target="../notesSlides/notesSlide2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8.xml"/></Relationships>
</file>

<file path=ppt/slides/_rels/slide229.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slideLayout" Target="../slideLayouts/slideLayout7.xml"/><Relationship Id="rId3" Type="http://schemas.openxmlformats.org/officeDocument/2006/relationships/notesSlide" Target="../notesSlides/notesSlide2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30.xml.rels><?xml version='1.0' encoding='UTF-8' standalone='yes'?>
<Relationships xmlns="http://schemas.openxmlformats.org/package/2006/relationships"><Relationship Id="rId1" Type="http://schemas.openxmlformats.org/officeDocument/2006/relationships/tags" Target="../tags/tag257.xml"/><Relationship Id="rId2" Type="http://schemas.openxmlformats.org/officeDocument/2006/relationships/slideLayout" Target="../slideLayouts/slideLayout7.xml"/><Relationship Id="rId3" Type="http://schemas.openxmlformats.org/officeDocument/2006/relationships/notesSlide" Target="../notesSlides/notesSlide2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0.xml"/></Relationships>
</file>

<file path=ppt/slides/_rels/slide231.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7.xml"/><Relationship Id="rId3" Type="http://schemas.openxmlformats.org/officeDocument/2006/relationships/notesSlide" Target="../notesSlides/notesSlide2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1.xml"/></Relationships>
</file>

<file path=ppt/slides/_rels/slide232.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7.xml"/><Relationship Id="rId3" Type="http://schemas.openxmlformats.org/officeDocument/2006/relationships/notesSlide" Target="../notesSlides/notesSlide2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s>
</file>

<file path=ppt/slides/_rels/slide233.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7.xml"/><Relationship Id="rId3" Type="http://schemas.openxmlformats.org/officeDocument/2006/relationships/notesSlide" Target="../notesSlides/notesSlide2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notesSlide" Target="../notesSlides/notesSlide2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4.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notesSlide" Target="../notesSlides/notesSlide2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5.xml"/></Relationships>
</file>

<file path=ppt/slides/_rels/slide236.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notesSlide" Target="../notesSlides/notesSlide2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6.xml"/></Relationships>
</file>

<file path=ppt/slides/_rels/slide237.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7.xml"/><Relationship Id="rId3" Type="http://schemas.openxmlformats.org/officeDocument/2006/relationships/notesSlide" Target="../notesSlides/notesSlide2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7.xml"/></Relationships>
</file>

<file path=ppt/slides/_rels/slide238.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7.xml"/><Relationship Id="rId3" Type="http://schemas.openxmlformats.org/officeDocument/2006/relationships/notesSlide" Target="../notesSlides/notesSlide2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8.xml"/></Relationships>
</file>

<file path=ppt/slides/_rels/slide239.xml.rels><?xml version='1.0' encoding='UTF-8' standalone='yes'?>
<Relationships xmlns="http://schemas.openxmlformats.org/package/2006/relationships"><Relationship Id="rId1" Type="http://schemas.openxmlformats.org/officeDocument/2006/relationships/tags" Target="../tags/tag266.xml"/><Relationship Id="rId2" Type="http://schemas.openxmlformats.org/officeDocument/2006/relationships/slideLayout" Target="../slideLayouts/slideLayout7.xml"/><Relationship Id="rId3" Type="http://schemas.openxmlformats.org/officeDocument/2006/relationships/notesSlide" Target="../notesSlides/notesSlide2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9.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notesSlide" Target="../notesSlides/notesSlide2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0.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notesSlide" Target="../notesSlides/notesSlide2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s>
</file>

<file path=ppt/slides/_rels/slide242.xml.rels><?xml version='1.0' encoding='UTF-8' standalone='yes'?>
<Relationships xmlns="http://schemas.openxmlformats.org/package/2006/relationships"><Relationship Id="rId1" Type="http://schemas.openxmlformats.org/officeDocument/2006/relationships/tags" Target="../tags/tag269.xml"/><Relationship Id="rId2" Type="http://schemas.openxmlformats.org/officeDocument/2006/relationships/slideLayout" Target="../slideLayouts/slideLayout7.xml"/><Relationship Id="rId3" Type="http://schemas.openxmlformats.org/officeDocument/2006/relationships/notesSlide" Target="../notesSlides/notesSlide2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2.xml"/></Relationships>
</file>

<file path=ppt/slides/_rels/slide243.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slideLayout" Target="../slideLayouts/slideLayout7.xml"/><Relationship Id="rId3" Type="http://schemas.openxmlformats.org/officeDocument/2006/relationships/notesSlide" Target="../notesSlides/notesSlide2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s>
</file>

<file path=ppt/slides/_rels/slide244.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7.xml"/><Relationship Id="rId3" Type="http://schemas.openxmlformats.org/officeDocument/2006/relationships/notesSlide" Target="../notesSlides/notesSlide2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4.xml"/></Relationships>
</file>

<file path=ppt/slides/_rels/slide245.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7.xml"/><Relationship Id="rId3" Type="http://schemas.openxmlformats.org/officeDocument/2006/relationships/notesSlide" Target="../notesSlides/notesSlide2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5.xml"/></Relationships>
</file>

<file path=ppt/slides/_rels/slide246.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7.xml"/><Relationship Id="rId3" Type="http://schemas.openxmlformats.org/officeDocument/2006/relationships/notesSlide" Target="../notesSlides/notesSlide2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6.xml"/></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notesSlide" Target="../notesSlides/notesSlide2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7.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notesSlide" Target="../notesSlides/notesSlide2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8.xml"/></Relationships>
</file>

<file path=ppt/slides/_rels/slide249.xml.rels><?xml version='1.0' encoding='UTF-8' standalone='yes'?>
<Relationships xmlns="http://schemas.openxmlformats.org/package/2006/relationships"><Relationship Id="rId1" Type="http://schemas.openxmlformats.org/officeDocument/2006/relationships/tags" Target="../tags/tag276.xml"/><Relationship Id="rId2" Type="http://schemas.openxmlformats.org/officeDocument/2006/relationships/slideLayout" Target="../slideLayouts/slideLayout7.xml"/><Relationship Id="rId3" Type="http://schemas.openxmlformats.org/officeDocument/2006/relationships/notesSlide" Target="../notesSlides/notesSlide2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50.xml.rels><?xml version='1.0' encoding='UTF-8' standalone='yes'?>
<Relationships xmlns="http://schemas.openxmlformats.org/package/2006/relationships"><Relationship Id="rId1" Type="http://schemas.openxmlformats.org/officeDocument/2006/relationships/tags" Target="../tags/tag277.xml"/><Relationship Id="rId2" Type="http://schemas.openxmlformats.org/officeDocument/2006/relationships/slideLayout" Target="../slideLayouts/slideLayout7.xml"/><Relationship Id="rId3" Type="http://schemas.openxmlformats.org/officeDocument/2006/relationships/notesSlide" Target="../notesSlides/notesSlide2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0.xml"/></Relationships>
</file>

<file path=ppt/slides/_rels/slide251.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7.xml"/><Relationship Id="rId3" Type="http://schemas.openxmlformats.org/officeDocument/2006/relationships/notesSlide" Target="../notesSlides/notesSlide2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1.xml"/></Relationships>
</file>

<file path=ppt/slides/_rels/slide252.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7.xml"/><Relationship Id="rId3" Type="http://schemas.openxmlformats.org/officeDocument/2006/relationships/notesSlide" Target="../notesSlides/notesSlide2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2.xml"/></Relationships>
</file>

<file path=ppt/slides/_rels/slide253.xml.rels><?xml version='1.0' encoding='UTF-8' standalone='yes'?>
<Relationships xmlns="http://schemas.openxmlformats.org/package/2006/relationships"><Relationship Id="rId1" Type="http://schemas.openxmlformats.org/officeDocument/2006/relationships/tags" Target="../tags/tag280.xml"/><Relationship Id="rId2" Type="http://schemas.openxmlformats.org/officeDocument/2006/relationships/slideLayout" Target="../slideLayouts/slideLayout7.xml"/><Relationship Id="rId3" Type="http://schemas.openxmlformats.org/officeDocument/2006/relationships/notesSlide" Target="../notesSlides/notesSlide2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s>
</file>

<file path=ppt/slides/_rels/slide254.xml.rels><?xml version='1.0' encoding='UTF-8' standalone='yes'?>
<Relationships xmlns="http://schemas.openxmlformats.org/package/2006/relationships"><Relationship Id="rId1" Type="http://schemas.openxmlformats.org/officeDocument/2006/relationships/tags" Target="../tags/tag281.xml"/><Relationship Id="rId2" Type="http://schemas.openxmlformats.org/officeDocument/2006/relationships/slideLayout" Target="../slideLayouts/slideLayout7.xml"/><Relationship Id="rId3" Type="http://schemas.openxmlformats.org/officeDocument/2006/relationships/notesSlide" Target="../notesSlides/notesSlide2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s>
</file>

<file path=ppt/slides/_rels/slide255.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7.xml"/><Relationship Id="rId3" Type="http://schemas.openxmlformats.org/officeDocument/2006/relationships/notesSlide" Target="../notesSlides/notesSlide2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5.xml"/></Relationships>
</file>

<file path=ppt/slides/_rels/slide256.xml.rels><?xml version='1.0' encoding='UTF-8' standalone='yes'?>
<Relationships xmlns="http://schemas.openxmlformats.org/package/2006/relationships"><Relationship Id="rId1" Type="http://schemas.openxmlformats.org/officeDocument/2006/relationships/tags" Target="../tags/tag283.xml"/><Relationship Id="rId2" Type="http://schemas.openxmlformats.org/officeDocument/2006/relationships/slideLayout" Target="../slideLayouts/slideLayout7.xml"/><Relationship Id="rId3" Type="http://schemas.openxmlformats.org/officeDocument/2006/relationships/notesSlide" Target="../notesSlides/notesSlide2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6.xml"/></Relationships>
</file>

<file path=ppt/slides/_rels/slide257.xml.rels><?xml version='1.0' encoding='UTF-8' standalone='yes'?>
<Relationships xmlns="http://schemas.openxmlformats.org/package/2006/relationships"><Relationship Id="rId1" Type="http://schemas.openxmlformats.org/officeDocument/2006/relationships/tags" Target="../tags/tag284.xml"/><Relationship Id="rId2" Type="http://schemas.openxmlformats.org/officeDocument/2006/relationships/slideLayout" Target="../slideLayouts/slideLayout7.xml"/><Relationship Id="rId3" Type="http://schemas.openxmlformats.org/officeDocument/2006/relationships/notesSlide" Target="../notesSlides/notesSlide2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s>
</file>

<file path=ppt/slides/_rels/slide258.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7.xml"/><Relationship Id="rId3" Type="http://schemas.openxmlformats.org/officeDocument/2006/relationships/notesSlide" Target="../notesSlides/notesSlide2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8.xml"/></Relationships>
</file>

<file path=ppt/slides/_rels/slide259.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slideLayout" Target="../slideLayouts/slideLayout7.xml"/><Relationship Id="rId3" Type="http://schemas.openxmlformats.org/officeDocument/2006/relationships/notesSlide" Target="../notesSlides/notesSlide2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9.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60.xml.rels><?xml version='1.0' encoding='UTF-8' standalone='yes'?>
<Relationships xmlns="http://schemas.openxmlformats.org/package/2006/relationships"><Relationship Id="rId1" Type="http://schemas.openxmlformats.org/officeDocument/2006/relationships/tags" Target="../tags/tag287.xml"/><Relationship Id="rId2" Type="http://schemas.openxmlformats.org/officeDocument/2006/relationships/slideLayout" Target="../slideLayouts/slideLayout7.xml"/><Relationship Id="rId3" Type="http://schemas.openxmlformats.org/officeDocument/2006/relationships/notesSlide" Target="../notesSlides/notesSlide2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0.xml"/></Relationships>
</file>

<file path=ppt/slides/_rels/slide261.xml.rels><?xml version='1.0' encoding='UTF-8' standalone='yes'?>
<Relationships xmlns="http://schemas.openxmlformats.org/package/2006/relationships"><Relationship Id="rId1" Type="http://schemas.openxmlformats.org/officeDocument/2006/relationships/tags" Target="../tags/tag288.xml"/><Relationship Id="rId2" Type="http://schemas.openxmlformats.org/officeDocument/2006/relationships/slideLayout" Target="../slideLayouts/slideLayout7.xml"/><Relationship Id="rId3" Type="http://schemas.openxmlformats.org/officeDocument/2006/relationships/notesSlide" Target="../notesSlides/notesSlide2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1.xml"/></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notesSlide" Target="../notesSlides/notesSlide2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2.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notesSlide" Target="../notesSlides/notesSlide2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3.xml"/></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notesSlide" Target="../notesSlides/notesSlide2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4.xml"/></Relationships>
</file>

<file path=ppt/slides/_rels/slide265.xml.rels><?xml version='1.0' encoding='UTF-8' standalone='yes'?>
<Relationships xmlns="http://schemas.openxmlformats.org/package/2006/relationships"><Relationship Id="rId1" Type="http://schemas.openxmlformats.org/officeDocument/2006/relationships/tags" Target="../tags/tag292.xml"/><Relationship Id="rId2" Type="http://schemas.openxmlformats.org/officeDocument/2006/relationships/slideLayout" Target="../slideLayouts/slideLayout7.xml"/><Relationship Id="rId3" Type="http://schemas.openxmlformats.org/officeDocument/2006/relationships/notesSlide" Target="../notesSlides/notesSlide2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s>
</file>

<file path=ppt/slides/_rels/slide266.xml.rels><?xml version='1.0' encoding='UTF-8' standalone='yes'?>
<Relationships xmlns="http://schemas.openxmlformats.org/package/2006/relationships"><Relationship Id="rId1" Type="http://schemas.openxmlformats.org/officeDocument/2006/relationships/tags" Target="../tags/tag293.xml"/><Relationship Id="rId2" Type="http://schemas.openxmlformats.org/officeDocument/2006/relationships/slideLayout" Target="../slideLayouts/slideLayout7.xml"/><Relationship Id="rId3" Type="http://schemas.openxmlformats.org/officeDocument/2006/relationships/notesSlide" Target="../notesSlides/notesSlide2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6.xml"/></Relationships>
</file>

<file path=ppt/slides/_rels/slide267.xml.rels><?xml version='1.0' encoding='UTF-8' standalone='yes'?>
<Relationships xmlns="http://schemas.openxmlformats.org/package/2006/relationships"><Relationship Id="rId1" Type="http://schemas.openxmlformats.org/officeDocument/2006/relationships/tags" Target="../tags/tag294.xml"/><Relationship Id="rId2" Type="http://schemas.openxmlformats.org/officeDocument/2006/relationships/slideLayout" Target="../slideLayouts/slideLayout7.xml"/><Relationship Id="rId3" Type="http://schemas.openxmlformats.org/officeDocument/2006/relationships/notesSlide" Target="../notesSlides/notesSlide2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7.xml"/></Relationships>
</file>

<file path=ppt/slides/_rels/slide268.xml.rels><?xml version='1.0' encoding='UTF-8' standalone='yes'?>
<Relationships xmlns="http://schemas.openxmlformats.org/package/2006/relationships"><Relationship Id="rId1" Type="http://schemas.openxmlformats.org/officeDocument/2006/relationships/tags" Target="../tags/tag295.xml"/><Relationship Id="rId2" Type="http://schemas.openxmlformats.org/officeDocument/2006/relationships/slideLayout" Target="../slideLayouts/slideLayout7.xml"/><Relationship Id="rId3" Type="http://schemas.openxmlformats.org/officeDocument/2006/relationships/notesSlide" Target="../notesSlides/notesSlide2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8.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notesSlide" Target="../notesSlides/notesSlide2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9.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notesSlide" Target="../notesSlides/notesSlide2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0.xml"/></Relationships>
</file>

<file path=ppt/slides/_rels/slide271.xml.rels><?xml version='1.0' encoding='UTF-8' standalone='yes'?>
<Relationships xmlns="http://schemas.openxmlformats.org/package/2006/relationships"><Relationship Id="rId1" Type="http://schemas.openxmlformats.org/officeDocument/2006/relationships/tags" Target="../tags/tag298.xml"/><Relationship Id="rId2" Type="http://schemas.openxmlformats.org/officeDocument/2006/relationships/slideLayout" Target="../slideLayouts/slideLayout7.xml"/><Relationship Id="rId3" Type="http://schemas.openxmlformats.org/officeDocument/2006/relationships/notesSlide" Target="../notesSlides/notesSlide2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1.xml"/></Relationships>
</file>

<file path=ppt/slides/_rels/slide272.xml.rels><?xml version='1.0' encoding='UTF-8' standalone='yes'?>
<Relationships xmlns="http://schemas.openxmlformats.org/package/2006/relationships"><Relationship Id="rId1" Type="http://schemas.openxmlformats.org/officeDocument/2006/relationships/tags" Target="../tags/tag299.xml"/><Relationship Id="rId2" Type="http://schemas.openxmlformats.org/officeDocument/2006/relationships/slideLayout" Target="../slideLayouts/slideLayout7.xml"/><Relationship Id="rId3" Type="http://schemas.openxmlformats.org/officeDocument/2006/relationships/notesSlide" Target="../notesSlides/notesSlide2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2.xml"/></Relationships>
</file>

<file path=ppt/slides/_rels/slide273.xml.rels><?xml version='1.0' encoding='UTF-8' standalone='yes'?>
<Relationships xmlns="http://schemas.openxmlformats.org/package/2006/relationships"><Relationship Id="rId1" Type="http://schemas.openxmlformats.org/officeDocument/2006/relationships/tags" Target="../tags/tag300.xml"/><Relationship Id="rId2" Type="http://schemas.openxmlformats.org/officeDocument/2006/relationships/slideLayout" Target="../slideLayouts/slideLayout7.xml"/><Relationship Id="rId3" Type="http://schemas.openxmlformats.org/officeDocument/2006/relationships/notesSlide" Target="../notesSlides/notesSlide2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s>
</file>

<file path=ppt/slides/_rels/slide274.xml.rels><?xml version='1.0' encoding='UTF-8' standalone='yes'?>
<Relationships xmlns="http://schemas.openxmlformats.org/package/2006/relationships"><Relationship Id="rId1" Type="http://schemas.openxmlformats.org/officeDocument/2006/relationships/tags" Target="../tags/tag301.xml"/><Relationship Id="rId2" Type="http://schemas.openxmlformats.org/officeDocument/2006/relationships/slideLayout" Target="../slideLayouts/slideLayout7.xml"/><Relationship Id="rId3" Type="http://schemas.openxmlformats.org/officeDocument/2006/relationships/notesSlide" Target="../notesSlides/notesSlide2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4.xml"/></Relationships>
</file>

<file path=ppt/slides/_rels/slide275.xml.rels><?xml version='1.0' encoding='UTF-8' standalone='yes'?>
<Relationships xmlns="http://schemas.openxmlformats.org/package/2006/relationships"><Relationship Id="rId1" Type="http://schemas.openxmlformats.org/officeDocument/2006/relationships/tags" Target="../tags/tag302.xml"/><Relationship Id="rId2" Type="http://schemas.openxmlformats.org/officeDocument/2006/relationships/slideLayout" Target="../slideLayouts/slideLayout7.xml"/><Relationship Id="rId3" Type="http://schemas.openxmlformats.org/officeDocument/2006/relationships/notesSlide" Target="../notesSlides/notesSlide2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5.xml"/></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notesSlide" Target="../notesSlides/notesSlide2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notesSlide" Target="../notesSlides/notesSlide2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s>
</file>

<file path=ppt/slides/_rels/slide278.xml.rels><?xml version='1.0' encoding='UTF-8' standalone='yes'?>
<Relationships xmlns="http://schemas.openxmlformats.org/package/2006/relationships"><Relationship Id="rId1" Type="http://schemas.openxmlformats.org/officeDocument/2006/relationships/tags" Target="../tags/tag305.xml"/><Relationship Id="rId2" Type="http://schemas.openxmlformats.org/officeDocument/2006/relationships/slideLayout" Target="../slideLayouts/slideLayout7.xml"/><Relationship Id="rId3" Type="http://schemas.openxmlformats.org/officeDocument/2006/relationships/notesSlide" Target="../notesSlides/notesSlide2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8.xml"/></Relationships>
</file>

<file path=ppt/slides/_rels/slide279.xml.rels><?xml version='1.0' encoding='UTF-8' standalone='yes'?>
<Relationships xmlns="http://schemas.openxmlformats.org/package/2006/relationships"><Relationship Id="rId1" Type="http://schemas.openxmlformats.org/officeDocument/2006/relationships/tags" Target="../tags/tag306.xml"/><Relationship Id="rId2" Type="http://schemas.openxmlformats.org/officeDocument/2006/relationships/slideLayout" Target="../slideLayouts/slideLayout7.xml"/><Relationship Id="rId3" Type="http://schemas.openxmlformats.org/officeDocument/2006/relationships/notesSlide" Target="../notesSlides/notesSlide2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9.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80.xml.rels><?xml version='1.0' encoding='UTF-8' standalone='yes'?>
<Relationships xmlns="http://schemas.openxmlformats.org/package/2006/relationships"><Relationship Id="rId1" Type="http://schemas.openxmlformats.org/officeDocument/2006/relationships/tags" Target="../tags/tag307.xml"/><Relationship Id="rId2" Type="http://schemas.openxmlformats.org/officeDocument/2006/relationships/slideLayout" Target="../slideLayouts/slideLayout7.xml"/><Relationship Id="rId3" Type="http://schemas.openxmlformats.org/officeDocument/2006/relationships/notesSlide" Target="../notesSlides/notesSlide2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0.xml"/></Relationships>
</file>

<file path=ppt/slides/_rels/slide281.xml.rels><?xml version='1.0' encoding='UTF-8' standalone='yes'?>
<Relationships xmlns="http://schemas.openxmlformats.org/package/2006/relationships"><Relationship Id="rId1" Type="http://schemas.openxmlformats.org/officeDocument/2006/relationships/tags" Target="../tags/tag308.xml"/><Relationship Id="rId2" Type="http://schemas.openxmlformats.org/officeDocument/2006/relationships/slideLayout" Target="../slideLayouts/slideLayout7.xml"/><Relationship Id="rId3" Type="http://schemas.openxmlformats.org/officeDocument/2006/relationships/notesSlide" Target="../notesSlides/notesSlide2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s>
</file>

<file path=ppt/slides/_rels/slide282.xml.rels><?xml version='1.0' encoding='UTF-8' standalone='yes'?>
<Relationships xmlns="http://schemas.openxmlformats.org/package/2006/relationships"><Relationship Id="rId1" Type="http://schemas.openxmlformats.org/officeDocument/2006/relationships/tags" Target="../tags/tag309.xml"/><Relationship Id="rId2" Type="http://schemas.openxmlformats.org/officeDocument/2006/relationships/slideLayout" Target="../slideLayouts/slideLayout7.xml"/><Relationship Id="rId3" Type="http://schemas.openxmlformats.org/officeDocument/2006/relationships/notesSlide" Target="../notesSlides/notesSlide2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2.xml"/></Relationships>
</file>

<file path=ppt/slides/_rels/slide283.xml.rels><?xml version='1.0' encoding='UTF-8' standalone='yes'?>
<Relationships xmlns="http://schemas.openxmlformats.org/package/2006/relationships"><Relationship Id="rId1" Type="http://schemas.openxmlformats.org/officeDocument/2006/relationships/tags" Target="../tags/tag310.xml"/><Relationship Id="rId2" Type="http://schemas.openxmlformats.org/officeDocument/2006/relationships/slideLayout" Target="../slideLayouts/slideLayout7.xml"/><Relationship Id="rId3" Type="http://schemas.openxmlformats.org/officeDocument/2006/relationships/notesSlide" Target="../notesSlides/notesSlide2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3.xml"/></Relationships>
</file>

<file path=ppt/slides/_rels/slide284.xml.rels><?xml version='1.0' encoding='UTF-8' standalone='yes'?>
<Relationships xmlns="http://schemas.openxmlformats.org/package/2006/relationships"><Relationship Id="rId1" Type="http://schemas.openxmlformats.org/officeDocument/2006/relationships/tags" Target="../tags/tag311.xml"/><Relationship Id="rId2" Type="http://schemas.openxmlformats.org/officeDocument/2006/relationships/slideLayout" Target="../slideLayouts/slideLayout7.xml"/><Relationship Id="rId3" Type="http://schemas.openxmlformats.org/officeDocument/2006/relationships/notesSlide" Target="../notesSlides/notesSlide2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4.xml"/></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notesSlide" Target="../notesSlides/notesSlide2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5.xml"/></Relationships>
</file>

<file path=ppt/slides/_rels/slide286.xml.rels><?xml version='1.0' encoding='UTF-8' standalone='yes'?>
<Relationships xmlns="http://schemas.openxmlformats.org/package/2006/relationships"><Relationship Id="rId1" Type="http://schemas.openxmlformats.org/officeDocument/2006/relationships/tags" Target="../tags/tag313.xml"/><Relationship Id="rId2" Type="http://schemas.openxmlformats.org/officeDocument/2006/relationships/slideLayout" Target="../slideLayouts/slideLayout7.xml"/><Relationship Id="rId3" Type="http://schemas.openxmlformats.org/officeDocument/2006/relationships/notesSlide" Target="../notesSlides/notesSlide2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6.xml"/></Relationships>
</file>

<file path=ppt/slides/_rels/slide287.xml.rels><?xml version='1.0' encoding='UTF-8' standalone='yes'?>
<Relationships xmlns="http://schemas.openxmlformats.org/package/2006/relationships"><Relationship Id="rId1" Type="http://schemas.openxmlformats.org/officeDocument/2006/relationships/tags" Target="../tags/tag314.xml"/><Relationship Id="rId2" Type="http://schemas.openxmlformats.org/officeDocument/2006/relationships/slideLayout" Target="../slideLayouts/slideLayout7.xml"/><Relationship Id="rId3" Type="http://schemas.openxmlformats.org/officeDocument/2006/relationships/notesSlide" Target="../notesSlides/notesSlide2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s>
</file>

<file path=ppt/slides/_rels/slide288.xml.rels><?xml version='1.0' encoding='UTF-8' standalone='yes'?>
<Relationships xmlns="http://schemas.openxmlformats.org/package/2006/relationships"><Relationship Id="rId1" Type="http://schemas.openxmlformats.org/officeDocument/2006/relationships/tags" Target="../tags/tag315.xml"/><Relationship Id="rId2" Type="http://schemas.openxmlformats.org/officeDocument/2006/relationships/slideLayout" Target="../slideLayouts/slideLayout7.xml"/><Relationship Id="rId3" Type="http://schemas.openxmlformats.org/officeDocument/2006/relationships/notesSlide" Target="../notesSlides/notesSlide2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8.xml"/></Relationships>
</file>

<file path=ppt/slides/_rels/slide289.xml.rels><?xml version='1.0' encoding='UTF-8' standalone='yes'?>
<Relationships xmlns="http://schemas.openxmlformats.org/package/2006/relationships"><Relationship Id="rId1" Type="http://schemas.openxmlformats.org/officeDocument/2006/relationships/tags" Target="../tags/tag316.xml"/><Relationship Id="rId2" Type="http://schemas.openxmlformats.org/officeDocument/2006/relationships/slideLayout" Target="../slideLayouts/slideLayout7.xml"/><Relationship Id="rId3" Type="http://schemas.openxmlformats.org/officeDocument/2006/relationships/notesSlide" Target="../notesSlides/notesSlide2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290.xml.rels><?xml version='1.0' encoding='UTF-8' standalone='yes'?>
<Relationships xmlns="http://schemas.openxmlformats.org/package/2006/relationships"><Relationship Id="rId1" Type="http://schemas.openxmlformats.org/officeDocument/2006/relationships/tags" Target="../tags/tag317.xml"/><Relationship Id="rId2" Type="http://schemas.openxmlformats.org/officeDocument/2006/relationships/slideLayout" Target="../slideLayouts/slideLayout7.xml"/><Relationship Id="rId3" Type="http://schemas.openxmlformats.org/officeDocument/2006/relationships/notesSlide" Target="../notesSlides/notesSlide2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0.xml"/></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notesSlide" Target="../notesSlides/notesSlide2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1.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notesSlide" Target="../notesSlides/notesSlide2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2.xml"/></Relationships>
</file>

<file path=ppt/slides/_rels/slide293.xml.rels><?xml version='1.0' encoding='UTF-8' standalone='yes'?>
<Relationships xmlns="http://schemas.openxmlformats.org/package/2006/relationships"><Relationship Id="rId1" Type="http://schemas.openxmlformats.org/officeDocument/2006/relationships/tags" Target="../tags/tag320.xml"/><Relationship Id="rId2" Type="http://schemas.openxmlformats.org/officeDocument/2006/relationships/slideLayout" Target="../slideLayouts/slideLayout7.xml"/><Relationship Id="rId3" Type="http://schemas.openxmlformats.org/officeDocument/2006/relationships/notesSlide" Target="../notesSlides/notesSlide2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3.xml"/></Relationships>
</file>

<file path=ppt/slides/_rels/slide294.xml.rels><?xml version='1.0' encoding='UTF-8' standalone='yes'?>
<Relationships xmlns="http://schemas.openxmlformats.org/package/2006/relationships"><Relationship Id="rId1" Type="http://schemas.openxmlformats.org/officeDocument/2006/relationships/tags" Target="../tags/tag321.xml"/><Relationship Id="rId2" Type="http://schemas.openxmlformats.org/officeDocument/2006/relationships/slideLayout" Target="../slideLayouts/slideLayout7.xml"/><Relationship Id="rId3" Type="http://schemas.openxmlformats.org/officeDocument/2006/relationships/notesSlide" Target="../notesSlides/notesSlide2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4.xml"/></Relationships>
</file>

<file path=ppt/slides/_rels/slide295.xml.rels><?xml version='1.0' encoding='UTF-8' standalone='yes'?>
<Relationships xmlns="http://schemas.openxmlformats.org/package/2006/relationships"><Relationship Id="rId1" Type="http://schemas.openxmlformats.org/officeDocument/2006/relationships/tags" Target="../tags/tag322.xml"/><Relationship Id="rId2" Type="http://schemas.openxmlformats.org/officeDocument/2006/relationships/slideLayout" Target="../slideLayouts/slideLayout7.xml"/><Relationship Id="rId3" Type="http://schemas.openxmlformats.org/officeDocument/2006/relationships/notesSlide" Target="../notesSlides/notesSlide2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5.xml"/></Relationships>
</file>

<file path=ppt/slides/_rels/slide296.xml.rels><?xml version='1.0' encoding='UTF-8' standalone='yes'?>
<Relationships xmlns="http://schemas.openxmlformats.org/package/2006/relationships"><Relationship Id="rId1" Type="http://schemas.openxmlformats.org/officeDocument/2006/relationships/tags" Target="../tags/tag323.xml"/><Relationship Id="rId2" Type="http://schemas.openxmlformats.org/officeDocument/2006/relationships/slideLayout" Target="../slideLayouts/slideLayout7.xml"/><Relationship Id="rId3" Type="http://schemas.openxmlformats.org/officeDocument/2006/relationships/notesSlide" Target="../notesSlides/notesSlide2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6.xml"/></Relationships>
</file>

<file path=ppt/slides/_rels/slide297.xml.rels><?xml version='1.0' encoding='UTF-8' standalone='yes'?>
<Relationships xmlns="http://schemas.openxmlformats.org/package/2006/relationships"><Relationship Id="rId1" Type="http://schemas.openxmlformats.org/officeDocument/2006/relationships/tags" Target="../tags/tag324.xml"/><Relationship Id="rId2" Type="http://schemas.openxmlformats.org/officeDocument/2006/relationships/slideLayout" Target="../slideLayouts/slideLayout7.xml"/><Relationship Id="rId3" Type="http://schemas.openxmlformats.org/officeDocument/2006/relationships/notesSlide" Target="../notesSlides/notesSlide2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7.xml"/></Relationships>
</file>

<file path=ppt/slides/_rels/slide298.xml.rels><?xml version='1.0' encoding='UTF-8' standalone='yes'?>
<Relationships xmlns="http://schemas.openxmlformats.org/package/2006/relationships"><Relationship Id="rId1" Type="http://schemas.openxmlformats.org/officeDocument/2006/relationships/tags" Target="../tags/tag325.xml"/><Relationship Id="rId2" Type="http://schemas.openxmlformats.org/officeDocument/2006/relationships/slideLayout" Target="../slideLayouts/slideLayout7.xml"/><Relationship Id="rId3" Type="http://schemas.openxmlformats.org/officeDocument/2006/relationships/notesSlide" Target="../notesSlides/notesSlide2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8.xml"/></Relationships>
</file>

<file path=ppt/slides/_rels/slide299.xml.rels><?xml version='1.0' encoding='UTF-8' standalone='yes'?>
<Relationships xmlns="http://schemas.openxmlformats.org/package/2006/relationships"><Relationship Id="rId1" Type="http://schemas.openxmlformats.org/officeDocument/2006/relationships/tags" Target="../tags/tag326.xml"/><Relationship Id="rId2" Type="http://schemas.openxmlformats.org/officeDocument/2006/relationships/slideLayout" Target="../slideLayouts/slideLayout7.xml"/><Relationship Id="rId3" Type="http://schemas.openxmlformats.org/officeDocument/2006/relationships/notesSlide" Target="../notesSlides/notesSlide2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00.xml.rels><?xml version='1.0' encoding='UTF-8' standalone='yes'?>
<Relationships xmlns="http://schemas.openxmlformats.org/package/2006/relationships"><Relationship Id="rId1" Type="http://schemas.openxmlformats.org/officeDocument/2006/relationships/tags" Target="../tags/tag327.xml"/><Relationship Id="rId2" Type="http://schemas.openxmlformats.org/officeDocument/2006/relationships/slideLayout" Target="../slideLayouts/slideLayout7.xml"/><Relationship Id="rId3" Type="http://schemas.openxmlformats.org/officeDocument/2006/relationships/notesSlide" Target="../notesSlides/notesSlide3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0.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notesSlide" Target="../notesSlides/notesSlide3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notesSlide" Target="../notesSlides/notesSlide3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2.xml"/></Relationships>
</file>

<file path=ppt/slides/_rels/slide303.xml.rels><?xml version='1.0' encoding='UTF-8' standalone='yes'?>
<Relationships xmlns="http://schemas.openxmlformats.org/package/2006/relationships"><Relationship Id="rId1" Type="http://schemas.openxmlformats.org/officeDocument/2006/relationships/tags" Target="../tags/tag330.xml"/><Relationship Id="rId2" Type="http://schemas.openxmlformats.org/officeDocument/2006/relationships/slideLayout" Target="../slideLayouts/slideLayout7.xml"/><Relationship Id="rId3" Type="http://schemas.openxmlformats.org/officeDocument/2006/relationships/notesSlide" Target="../notesSlides/notesSlide3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3.xml"/></Relationships>
</file>

<file path=ppt/slides/_rels/slide304.xml.rels><?xml version='1.0' encoding='UTF-8' standalone='yes'?>
<Relationships xmlns="http://schemas.openxmlformats.org/package/2006/relationships"><Relationship Id="rId1" Type="http://schemas.openxmlformats.org/officeDocument/2006/relationships/tags" Target="../tags/tag331.xml"/><Relationship Id="rId2" Type="http://schemas.openxmlformats.org/officeDocument/2006/relationships/slideLayout" Target="../slideLayouts/slideLayout7.xml"/><Relationship Id="rId3" Type="http://schemas.openxmlformats.org/officeDocument/2006/relationships/notesSlide" Target="../notesSlides/notesSlide3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4.xml"/></Relationships>
</file>

<file path=ppt/slides/_rels/slide305.xml.rels><?xml version='1.0' encoding='UTF-8' standalone='yes'?>
<Relationships xmlns="http://schemas.openxmlformats.org/package/2006/relationships"><Relationship Id="rId1" Type="http://schemas.openxmlformats.org/officeDocument/2006/relationships/tags" Target="../tags/tag332.xml"/><Relationship Id="rId2" Type="http://schemas.openxmlformats.org/officeDocument/2006/relationships/slideLayout" Target="../slideLayouts/slideLayout7.xml"/><Relationship Id="rId3" Type="http://schemas.openxmlformats.org/officeDocument/2006/relationships/notesSlide" Target="../notesSlides/notesSlide3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5.xml"/></Relationships>
</file>

<file path=ppt/slides/_rels/slide306.xml.rels><?xml version='1.0' encoding='UTF-8' standalone='yes'?>
<Relationships xmlns="http://schemas.openxmlformats.org/package/2006/relationships"><Relationship Id="rId1" Type="http://schemas.openxmlformats.org/officeDocument/2006/relationships/tags" Target="../tags/tag333.xml"/><Relationship Id="rId2" Type="http://schemas.openxmlformats.org/officeDocument/2006/relationships/slideLayout" Target="../slideLayouts/slideLayout7.xml"/><Relationship Id="rId3" Type="http://schemas.openxmlformats.org/officeDocument/2006/relationships/notesSlide" Target="../notesSlides/notesSlide3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6.xml"/></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notesSlide" Target="../notesSlides/notesSlide3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7.xml"/></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notesSlide" Target="../notesSlides/notesSlide3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8.xml"/></Relationships>
</file>

<file path=ppt/slides/_rels/slide309.xml.rels><?xml version='1.0' encoding='UTF-8' standalone='yes'?>
<Relationships xmlns="http://schemas.openxmlformats.org/package/2006/relationships"><Relationship Id="rId1" Type="http://schemas.openxmlformats.org/officeDocument/2006/relationships/tags" Target="../tags/tag336.xml"/><Relationship Id="rId2" Type="http://schemas.openxmlformats.org/officeDocument/2006/relationships/slideLayout" Target="../slideLayouts/slideLayout7.xml"/><Relationship Id="rId3" Type="http://schemas.openxmlformats.org/officeDocument/2006/relationships/notesSlide" Target="../notesSlides/notesSlide3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9.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10.xml.rels><?xml version='1.0' encoding='UTF-8' standalone='yes'?>
<Relationships xmlns="http://schemas.openxmlformats.org/package/2006/relationships"><Relationship Id="rId1" Type="http://schemas.openxmlformats.org/officeDocument/2006/relationships/tags" Target="../tags/tag337.xml"/><Relationship Id="rId2" Type="http://schemas.openxmlformats.org/officeDocument/2006/relationships/slideLayout" Target="../slideLayouts/slideLayout7.xml"/><Relationship Id="rId3" Type="http://schemas.openxmlformats.org/officeDocument/2006/relationships/notesSlide" Target="../notesSlides/notesSlide3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0.xml"/></Relationships>
</file>

<file path=ppt/slides/_rels/slide311.xml.rels><?xml version='1.0' encoding='UTF-8' standalone='yes'?>
<Relationships xmlns="http://schemas.openxmlformats.org/package/2006/relationships"><Relationship Id="rId1" Type="http://schemas.openxmlformats.org/officeDocument/2006/relationships/tags" Target="../tags/tag338.xml"/><Relationship Id="rId2" Type="http://schemas.openxmlformats.org/officeDocument/2006/relationships/slideLayout" Target="../slideLayouts/slideLayout7.xml"/><Relationship Id="rId3" Type="http://schemas.openxmlformats.org/officeDocument/2006/relationships/notesSlide" Target="../notesSlides/notesSlide3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1.xml"/></Relationships>
</file>

<file path=ppt/slides/_rels/slide312.xml.rels><?xml version='1.0' encoding='UTF-8' standalone='yes'?>
<Relationships xmlns="http://schemas.openxmlformats.org/package/2006/relationships"><Relationship Id="rId1" Type="http://schemas.openxmlformats.org/officeDocument/2006/relationships/tags" Target="../tags/tag339.xml"/><Relationship Id="rId2" Type="http://schemas.openxmlformats.org/officeDocument/2006/relationships/slideLayout" Target="../slideLayouts/slideLayout7.xml"/><Relationship Id="rId3" Type="http://schemas.openxmlformats.org/officeDocument/2006/relationships/notesSlide" Target="../notesSlides/notesSlide3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2.xml"/></Relationships>
</file>

<file path=ppt/slides/_rels/slide313.xml.rels><?xml version='1.0' encoding='UTF-8' standalone='yes'?>
<Relationships xmlns="http://schemas.openxmlformats.org/package/2006/relationships"><Relationship Id="rId1" Type="http://schemas.openxmlformats.org/officeDocument/2006/relationships/tags" Target="../tags/tag340.xml"/><Relationship Id="rId2" Type="http://schemas.openxmlformats.org/officeDocument/2006/relationships/slideLayout" Target="../slideLayouts/slideLayout7.xml"/><Relationship Id="rId3" Type="http://schemas.openxmlformats.org/officeDocument/2006/relationships/notesSlide" Target="../notesSlides/notesSlide3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s>
</file>

<file path=ppt/slides/_rels/slide314.xml.rels><?xml version='1.0' encoding='UTF-8' standalone='yes'?>
<Relationships xmlns="http://schemas.openxmlformats.org/package/2006/relationships"><Relationship Id="rId1" Type="http://schemas.openxmlformats.org/officeDocument/2006/relationships/tags" Target="../tags/tag341.xml"/><Relationship Id="rId2" Type="http://schemas.openxmlformats.org/officeDocument/2006/relationships/slideLayout" Target="../slideLayouts/slideLayout7.xml"/><Relationship Id="rId3" Type="http://schemas.openxmlformats.org/officeDocument/2006/relationships/notesSlide" Target="../notesSlides/notesSlide3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4.xml"/></Relationships>
</file>

<file path=ppt/slides/_rels/slide315.xml.rels><?xml version='1.0' encoding='UTF-8' standalone='yes'?>
<Relationships xmlns="http://schemas.openxmlformats.org/package/2006/relationships"><Relationship Id="rId1" Type="http://schemas.openxmlformats.org/officeDocument/2006/relationships/tags" Target="../tags/tag342.xml"/><Relationship Id="rId2" Type="http://schemas.openxmlformats.org/officeDocument/2006/relationships/slideLayout" Target="../slideLayouts/slideLayout7.xml"/><Relationship Id="rId3" Type="http://schemas.openxmlformats.org/officeDocument/2006/relationships/notesSlide" Target="../notesSlides/notesSlide3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5.xml"/></Relationships>
</file>

<file path=ppt/slides/_rels/slide316.xml.rels><?xml version='1.0' encoding='UTF-8' standalone='yes'?>
<Relationships xmlns="http://schemas.openxmlformats.org/package/2006/relationships"><Relationship Id="rId1" Type="http://schemas.openxmlformats.org/officeDocument/2006/relationships/tags" Target="../tags/tag343.xml"/><Relationship Id="rId2" Type="http://schemas.openxmlformats.org/officeDocument/2006/relationships/slideLayout" Target="../slideLayouts/slideLayout7.xml"/><Relationship Id="rId3" Type="http://schemas.openxmlformats.org/officeDocument/2006/relationships/notesSlide" Target="../notesSlides/notesSlide3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6.xml"/></Relationships>
</file>

<file path=ppt/slides/_rels/slide317.xml.rels><?xml version='1.0' encoding='UTF-8' standalone='yes'?>
<Relationships xmlns="http://schemas.openxmlformats.org/package/2006/relationships"><Relationship Id="rId1" Type="http://schemas.openxmlformats.org/officeDocument/2006/relationships/tags" Target="../tags/tag344.xml"/><Relationship Id="rId2" Type="http://schemas.openxmlformats.org/officeDocument/2006/relationships/slideLayout" Target="../slideLayouts/slideLayout7.xml"/><Relationship Id="rId3" Type="http://schemas.openxmlformats.org/officeDocument/2006/relationships/notesSlide" Target="../notesSlides/notesSlide3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7.xml"/></Relationships>
</file>

<file path=ppt/slides/_rels/slide318.xml.rels><?xml version='1.0' encoding='UTF-8' standalone='yes'?>
<Relationships xmlns="http://schemas.openxmlformats.org/package/2006/relationships"><Relationship Id="rId1" Type="http://schemas.openxmlformats.org/officeDocument/2006/relationships/tags" Target="../tags/tag345.xml"/><Relationship Id="rId2" Type="http://schemas.openxmlformats.org/officeDocument/2006/relationships/slideLayout" Target="../slideLayouts/slideLayout7.xml"/><Relationship Id="rId3" Type="http://schemas.openxmlformats.org/officeDocument/2006/relationships/notesSlide" Target="../notesSlides/notesSlide3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8.xml"/></Relationships>
</file>

<file path=ppt/slides/_rels/slide319.xml.rels><?xml version='1.0' encoding='UTF-8' standalone='yes'?>
<Relationships xmlns="http://schemas.openxmlformats.org/package/2006/relationships"><Relationship Id="rId1" Type="http://schemas.openxmlformats.org/officeDocument/2006/relationships/tags" Target="../tags/tag346.xml"/><Relationship Id="rId2" Type="http://schemas.openxmlformats.org/officeDocument/2006/relationships/slideLayout" Target="../slideLayouts/slideLayout7.xml"/><Relationship Id="rId3" Type="http://schemas.openxmlformats.org/officeDocument/2006/relationships/notesSlide" Target="../notesSlides/notesSlide3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9.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20.xml.rels><?xml version='1.0' encoding='UTF-8' standalone='yes'?>
<Relationships xmlns="http://schemas.openxmlformats.org/package/2006/relationships"><Relationship Id="rId1" Type="http://schemas.openxmlformats.org/officeDocument/2006/relationships/tags" Target="../tags/tag347.xml"/><Relationship Id="rId2" Type="http://schemas.openxmlformats.org/officeDocument/2006/relationships/slideLayout" Target="../slideLayouts/slideLayout7.xml"/><Relationship Id="rId3" Type="http://schemas.openxmlformats.org/officeDocument/2006/relationships/notesSlide" Target="../notesSlides/notesSlide3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0.xml"/></Relationships>
</file>

<file path=ppt/slides/_rels/slide321.xml.rels><?xml version='1.0' encoding='UTF-8' standalone='yes'?>
<Relationships xmlns="http://schemas.openxmlformats.org/package/2006/relationships"><Relationship Id="rId1" Type="http://schemas.openxmlformats.org/officeDocument/2006/relationships/tags" Target="../tags/tag348.xml"/><Relationship Id="rId2" Type="http://schemas.openxmlformats.org/officeDocument/2006/relationships/slideLayout" Target="../slideLayouts/slideLayout7.xml"/><Relationship Id="rId3" Type="http://schemas.openxmlformats.org/officeDocument/2006/relationships/notesSlide" Target="../notesSlides/notesSlide3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1.xml"/></Relationships>
</file>

<file path=ppt/slides/_rels/slide322.xml.rels><?xml version='1.0' encoding='UTF-8' standalone='yes'?>
<Relationships xmlns="http://schemas.openxmlformats.org/package/2006/relationships"><Relationship Id="rId1" Type="http://schemas.openxmlformats.org/officeDocument/2006/relationships/tags" Target="../tags/tag349.xml"/><Relationship Id="rId2" Type="http://schemas.openxmlformats.org/officeDocument/2006/relationships/slideLayout" Target="../slideLayouts/slideLayout7.xml"/><Relationship Id="rId3" Type="http://schemas.openxmlformats.org/officeDocument/2006/relationships/notesSlide" Target="../notesSlides/notesSlide3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2.xml"/></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notesSlide" Target="../notesSlides/notesSlide3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3.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notesSlide" Target="../notesSlides/notesSlide3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4.xml"/></Relationships>
</file>

<file path=ppt/slides/_rels/slide325.xml.rels><?xml version='1.0' encoding='UTF-8' standalone='yes'?>
<Relationships xmlns="http://schemas.openxmlformats.org/package/2006/relationships"><Relationship Id="rId1" Type="http://schemas.openxmlformats.org/officeDocument/2006/relationships/tags" Target="../tags/tag352.xml"/><Relationship Id="rId2" Type="http://schemas.openxmlformats.org/officeDocument/2006/relationships/slideLayout" Target="../slideLayouts/slideLayout7.xml"/><Relationship Id="rId3" Type="http://schemas.openxmlformats.org/officeDocument/2006/relationships/notesSlide" Target="../notesSlides/notesSlide3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s>
</file>

<file path=ppt/slides/_rels/slide326.xml.rels><?xml version='1.0' encoding='UTF-8' standalone='yes'?>
<Relationships xmlns="http://schemas.openxmlformats.org/package/2006/relationships"><Relationship Id="rId1" Type="http://schemas.openxmlformats.org/officeDocument/2006/relationships/tags" Target="../tags/tag353.xml"/><Relationship Id="rId2" Type="http://schemas.openxmlformats.org/officeDocument/2006/relationships/slideLayout" Target="../slideLayouts/slideLayout7.xml"/><Relationship Id="rId3" Type="http://schemas.openxmlformats.org/officeDocument/2006/relationships/notesSlide" Target="../notesSlides/notesSlide3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6.xml"/></Relationships>
</file>

<file path=ppt/slides/_rels/slide327.xml.rels><?xml version='1.0' encoding='UTF-8' standalone='yes'?>
<Relationships xmlns="http://schemas.openxmlformats.org/package/2006/relationships"><Relationship Id="rId1" Type="http://schemas.openxmlformats.org/officeDocument/2006/relationships/tags" Target="../tags/tag354.xml"/><Relationship Id="rId2" Type="http://schemas.openxmlformats.org/officeDocument/2006/relationships/slideLayout" Target="../slideLayouts/slideLayout7.xml"/><Relationship Id="rId3" Type="http://schemas.openxmlformats.org/officeDocument/2006/relationships/notesSlide" Target="../notesSlides/notesSlide3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7.xml"/></Relationships>
</file>

<file path=ppt/slides/_rels/slide328.xml.rels><?xml version='1.0' encoding='UTF-8' standalone='yes'?>
<Relationships xmlns="http://schemas.openxmlformats.org/package/2006/relationships"><Relationship Id="rId1" Type="http://schemas.openxmlformats.org/officeDocument/2006/relationships/tags" Target="../tags/tag355.xml"/><Relationship Id="rId2" Type="http://schemas.openxmlformats.org/officeDocument/2006/relationships/slideLayout" Target="../slideLayouts/slideLayout7.xml"/><Relationship Id="rId3" Type="http://schemas.openxmlformats.org/officeDocument/2006/relationships/notesSlide" Target="../notesSlides/notesSlide3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8.xml"/></Relationships>
</file>

<file path=ppt/slides/_rels/slide329.xml.rels><?xml version='1.0' encoding='UTF-8' standalone='yes'?>
<Relationships xmlns="http://schemas.openxmlformats.org/package/2006/relationships"><Relationship Id="rId1" Type="http://schemas.openxmlformats.org/officeDocument/2006/relationships/tags" Target="../tags/tag356.xml"/><Relationship Id="rId2" Type="http://schemas.openxmlformats.org/officeDocument/2006/relationships/slideLayout" Target="../slideLayouts/slideLayout7.xml"/><Relationship Id="rId3" Type="http://schemas.openxmlformats.org/officeDocument/2006/relationships/notesSlide" Target="../notesSlides/notesSlide3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9.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notesSlide" Target="../notesSlides/notesSlide3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0.xml"/></Relationships>
</file>

<file path=ppt/slides/_rels/slide331.xml.rels><?xml version='1.0' encoding='UTF-8' standalone='yes'?>
<Relationships xmlns="http://schemas.openxmlformats.org/package/2006/relationships"><Relationship Id="rId1" Type="http://schemas.openxmlformats.org/officeDocument/2006/relationships/tags" Target="../tags/tag358.xml"/><Relationship Id="rId2" Type="http://schemas.openxmlformats.org/officeDocument/2006/relationships/slideLayout" Target="../slideLayouts/slideLayout7.xml"/><Relationship Id="rId3" Type="http://schemas.openxmlformats.org/officeDocument/2006/relationships/notesSlide" Target="../notesSlides/notesSlide3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1.xml"/></Relationships>
</file>

<file path=ppt/slides/_rels/slide332.xml.rels><?xml version='1.0' encoding='UTF-8' standalone='yes'?>
<Relationships xmlns="http://schemas.openxmlformats.org/package/2006/relationships"><Relationship Id="rId1" Type="http://schemas.openxmlformats.org/officeDocument/2006/relationships/tags" Target="../tags/tag359.xml"/><Relationship Id="rId2" Type="http://schemas.openxmlformats.org/officeDocument/2006/relationships/slideLayout" Target="../slideLayouts/slideLayout7.xml"/><Relationship Id="rId3" Type="http://schemas.openxmlformats.org/officeDocument/2006/relationships/notesSlide" Target="../notesSlides/notesSlide3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2.xml"/></Relationships>
</file>

<file path=ppt/slides/_rels/slide333.xml.rels><?xml version='1.0' encoding='UTF-8' standalone='yes'?>
<Relationships xmlns="http://schemas.openxmlformats.org/package/2006/relationships"><Relationship Id="rId1" Type="http://schemas.openxmlformats.org/officeDocument/2006/relationships/tags" Target="../tags/tag360.xml"/><Relationship Id="rId2" Type="http://schemas.openxmlformats.org/officeDocument/2006/relationships/slideLayout" Target="../slideLayouts/slideLayout7.xml"/><Relationship Id="rId3" Type="http://schemas.openxmlformats.org/officeDocument/2006/relationships/notesSlide" Target="../notesSlides/notesSlide3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3.xml"/></Relationships>
</file>

<file path=ppt/slides/_rels/slide334.xml.rels><?xml version='1.0' encoding='UTF-8' standalone='yes'?>
<Relationships xmlns="http://schemas.openxmlformats.org/package/2006/relationships"><Relationship Id="rId1" Type="http://schemas.openxmlformats.org/officeDocument/2006/relationships/tags" Target="../tags/tag361.xml"/><Relationship Id="rId2" Type="http://schemas.openxmlformats.org/officeDocument/2006/relationships/slideLayout" Target="../slideLayouts/slideLayout7.xml"/><Relationship Id="rId3" Type="http://schemas.openxmlformats.org/officeDocument/2006/relationships/notesSlide" Target="../notesSlides/notesSlide3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4.xml"/></Relationships>
</file>

<file path=ppt/slides/_rels/slide335.xml.rels><?xml version='1.0' encoding='UTF-8' standalone='yes'?>
<Relationships xmlns="http://schemas.openxmlformats.org/package/2006/relationships"><Relationship Id="rId1" Type="http://schemas.openxmlformats.org/officeDocument/2006/relationships/tags" Target="../tags/tag362.xml"/><Relationship Id="rId2" Type="http://schemas.openxmlformats.org/officeDocument/2006/relationships/slideLayout" Target="../slideLayouts/slideLayout7.xml"/><Relationship Id="rId3" Type="http://schemas.openxmlformats.org/officeDocument/2006/relationships/notesSlide" Target="../notesSlides/notesSlide3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5.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notesSlide" Target="../notesSlides/notesSlide3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6.xml"/></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notesSlide" Target="../notesSlides/notesSlide3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s>
</file>

<file path=ppt/slides/_rels/slide338.xml.rels><?xml version='1.0' encoding='UTF-8' standalone='yes'?>
<Relationships xmlns="http://schemas.openxmlformats.org/package/2006/relationships"><Relationship Id="rId1" Type="http://schemas.openxmlformats.org/officeDocument/2006/relationships/tags" Target="../tags/tag365.xml"/><Relationship Id="rId2" Type="http://schemas.openxmlformats.org/officeDocument/2006/relationships/slideLayout" Target="../slideLayouts/slideLayout7.xml"/><Relationship Id="rId3" Type="http://schemas.openxmlformats.org/officeDocument/2006/relationships/notesSlide" Target="../notesSlides/notesSlide3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8.xml"/></Relationships>
</file>

<file path=ppt/slides/_rels/slide339.xml.rels><?xml version='1.0' encoding='UTF-8' standalone='yes'?>
<Relationships xmlns="http://schemas.openxmlformats.org/package/2006/relationships"><Relationship Id="rId1" Type="http://schemas.openxmlformats.org/officeDocument/2006/relationships/tags" Target="../tags/tag366.xml"/><Relationship Id="rId2" Type="http://schemas.openxmlformats.org/officeDocument/2006/relationships/slideLayout" Target="../slideLayouts/slideLayout7.xml"/><Relationship Id="rId3" Type="http://schemas.openxmlformats.org/officeDocument/2006/relationships/notesSlide" Target="../notesSlides/notesSlide3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9.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40.xml.rels><?xml version='1.0' encoding='UTF-8' standalone='yes'?>
<Relationships xmlns="http://schemas.openxmlformats.org/package/2006/relationships"><Relationship Id="rId1" Type="http://schemas.openxmlformats.org/officeDocument/2006/relationships/tags" Target="../tags/tag367.xml"/><Relationship Id="rId2" Type="http://schemas.openxmlformats.org/officeDocument/2006/relationships/slideLayout" Target="../slideLayouts/slideLayout7.xml"/><Relationship Id="rId3" Type="http://schemas.openxmlformats.org/officeDocument/2006/relationships/notesSlide" Target="../notesSlides/notesSlide3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0.xml"/></Relationships>
</file>

<file path=ppt/slides/_rels/slide341.xml.rels><?xml version='1.0' encoding='UTF-8' standalone='yes'?>
<Relationships xmlns="http://schemas.openxmlformats.org/package/2006/relationships"><Relationship Id="rId1" Type="http://schemas.openxmlformats.org/officeDocument/2006/relationships/tags" Target="../tags/tag368.xml"/><Relationship Id="rId2" Type="http://schemas.openxmlformats.org/officeDocument/2006/relationships/slideLayout" Target="../slideLayouts/slideLayout7.xml"/><Relationship Id="rId3" Type="http://schemas.openxmlformats.org/officeDocument/2006/relationships/notesSlide" Target="../notesSlides/notesSlide3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1.xml"/></Relationships>
</file>

<file path=ppt/slides/_rels/slide342.xml.rels><?xml version='1.0' encoding='UTF-8' standalone='yes'?>
<Relationships xmlns="http://schemas.openxmlformats.org/package/2006/relationships"><Relationship Id="rId1" Type="http://schemas.openxmlformats.org/officeDocument/2006/relationships/tags" Target="../tags/tag369.xml"/><Relationship Id="rId2" Type="http://schemas.openxmlformats.org/officeDocument/2006/relationships/slideLayout" Target="../slideLayouts/slideLayout7.xml"/><Relationship Id="rId3" Type="http://schemas.openxmlformats.org/officeDocument/2006/relationships/notesSlide" Target="../notesSlides/notesSlide3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2.xml"/></Relationships>
</file>

<file path=ppt/slides/_rels/slide343.xml.rels><?xml version='1.0' encoding='UTF-8' standalone='yes'?>
<Relationships xmlns="http://schemas.openxmlformats.org/package/2006/relationships"><Relationship Id="rId1" Type="http://schemas.openxmlformats.org/officeDocument/2006/relationships/tags" Target="../tags/tag370.xml"/><Relationship Id="rId2" Type="http://schemas.openxmlformats.org/officeDocument/2006/relationships/slideLayout" Target="../slideLayouts/slideLayout7.xml"/><Relationship Id="rId3" Type="http://schemas.openxmlformats.org/officeDocument/2006/relationships/notesSlide" Target="../notesSlides/notesSlide3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3.xml"/></Relationships>
</file>

<file path=ppt/slides/_rels/slide344.xml.rels><?xml version='1.0' encoding='UTF-8' standalone='yes'?>
<Relationships xmlns="http://schemas.openxmlformats.org/package/2006/relationships"><Relationship Id="rId1" Type="http://schemas.openxmlformats.org/officeDocument/2006/relationships/tags" Target="../tags/tag371.xml"/><Relationship Id="rId2" Type="http://schemas.openxmlformats.org/officeDocument/2006/relationships/slideLayout" Target="../slideLayouts/slideLayout7.xml"/><Relationship Id="rId3" Type="http://schemas.openxmlformats.org/officeDocument/2006/relationships/notesSlide" Target="../notesSlides/notesSlide3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4.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notesSlide" Target="../notesSlides/notesSlide3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5.xml"/></Relationships>
</file>

<file path=ppt/slides/_rels/slide346.xml.rels><?xml version='1.0' encoding='UTF-8' standalone='yes'?>
<Relationships xmlns="http://schemas.openxmlformats.org/package/2006/relationships"><Relationship Id="rId1" Type="http://schemas.openxmlformats.org/officeDocument/2006/relationships/tags" Target="../tags/tag373.xml"/><Relationship Id="rId2" Type="http://schemas.openxmlformats.org/officeDocument/2006/relationships/slideLayout" Target="../slideLayouts/slideLayout7.xml"/><Relationship Id="rId3" Type="http://schemas.openxmlformats.org/officeDocument/2006/relationships/notesSlide" Target="../notesSlides/notesSlide3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6.xml"/></Relationships>
</file>

<file path=ppt/slides/_rels/slide347.xml.rels><?xml version='1.0' encoding='UTF-8' standalone='yes'?>
<Relationships xmlns="http://schemas.openxmlformats.org/package/2006/relationships"><Relationship Id="rId1" Type="http://schemas.openxmlformats.org/officeDocument/2006/relationships/tags" Target="../tags/tag374.xml"/><Relationship Id="rId2" Type="http://schemas.openxmlformats.org/officeDocument/2006/relationships/slideLayout" Target="../slideLayouts/slideLayout7.xml"/><Relationship Id="rId3" Type="http://schemas.openxmlformats.org/officeDocument/2006/relationships/notesSlide" Target="../notesSlides/notesSlide3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7.xml"/></Relationships>
</file>

<file path=ppt/slides/_rels/slide348.xml.rels><?xml version='1.0' encoding='UTF-8' standalone='yes'?>
<Relationships xmlns="http://schemas.openxmlformats.org/package/2006/relationships"><Relationship Id="rId1" Type="http://schemas.openxmlformats.org/officeDocument/2006/relationships/tags" Target="../tags/tag375.xml"/><Relationship Id="rId2" Type="http://schemas.openxmlformats.org/officeDocument/2006/relationships/slideLayout" Target="../slideLayouts/slideLayout7.xml"/><Relationship Id="rId3" Type="http://schemas.openxmlformats.org/officeDocument/2006/relationships/notesSlide" Target="../notesSlides/notesSlide3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8.xml"/></Relationships>
</file>

<file path=ppt/slides/_rels/slide349.xml.rels><?xml version='1.0' encoding='UTF-8' standalone='yes'?>
<Relationships xmlns="http://schemas.openxmlformats.org/package/2006/relationships"><Relationship Id="rId1" Type="http://schemas.openxmlformats.org/officeDocument/2006/relationships/tags" Target="../tags/tag376.xml"/><Relationship Id="rId2" Type="http://schemas.openxmlformats.org/officeDocument/2006/relationships/slideLayout" Target="../slideLayouts/slideLayout7.xml"/><Relationship Id="rId3" Type="http://schemas.openxmlformats.org/officeDocument/2006/relationships/notesSlide" Target="../notesSlides/notesSlide3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50.xml.rels><?xml version='1.0' encoding='UTF-8' standalone='yes'?>
<Relationships xmlns="http://schemas.openxmlformats.org/package/2006/relationships"><Relationship Id="rId1" Type="http://schemas.openxmlformats.org/officeDocument/2006/relationships/tags" Target="../tags/tag377.xml"/><Relationship Id="rId2" Type="http://schemas.openxmlformats.org/officeDocument/2006/relationships/slideLayout" Target="../slideLayouts/slideLayout7.xml"/><Relationship Id="rId3" Type="http://schemas.openxmlformats.org/officeDocument/2006/relationships/notesSlide" Target="../notesSlides/notesSlide3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0.xml"/></Relationships>
</file>

<file path=ppt/slides/_rels/slide35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notesSlide" Target="../notesSlides/notesSlide3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1.xml"/></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notesSlide" Target="../notesSlides/notesSlide3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2.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notesSlide" Target="../notesSlides/notesSlide3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3.xml"/></Relationships>
</file>

<file path=ppt/slides/_rels/slide354.xml.rels><?xml version='1.0' encoding='UTF-8' standalone='yes'?>
<Relationships xmlns="http://schemas.openxmlformats.org/package/2006/relationships"><Relationship Id="rId1" Type="http://schemas.openxmlformats.org/officeDocument/2006/relationships/tags" Target="../tags/tag381.xml"/><Relationship Id="rId2" Type="http://schemas.openxmlformats.org/officeDocument/2006/relationships/slideLayout" Target="../slideLayouts/slideLayout7.xml"/><Relationship Id="rId3" Type="http://schemas.openxmlformats.org/officeDocument/2006/relationships/notesSlide" Target="../notesSlides/notesSlide3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4.xml"/></Relationships>
</file>

<file path=ppt/slides/_rels/slide355.xml.rels><?xml version='1.0' encoding='UTF-8' standalone='yes'?>
<Relationships xmlns="http://schemas.openxmlformats.org/package/2006/relationships"><Relationship Id="rId1" Type="http://schemas.openxmlformats.org/officeDocument/2006/relationships/tags" Target="../tags/tag382.xml"/><Relationship Id="rId2" Type="http://schemas.openxmlformats.org/officeDocument/2006/relationships/slideLayout" Target="../slideLayouts/slideLayout7.xml"/><Relationship Id="rId3" Type="http://schemas.openxmlformats.org/officeDocument/2006/relationships/notesSlide" Target="../notesSlides/notesSlide3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5.xml"/></Relationships>
</file>

<file path=ppt/slides/_rels/slide356.xml.rels><?xml version='1.0' encoding='UTF-8' standalone='yes'?>
<Relationships xmlns="http://schemas.openxmlformats.org/package/2006/relationships"><Relationship Id="rId1" Type="http://schemas.openxmlformats.org/officeDocument/2006/relationships/tags" Target="../tags/tag383.xml"/><Relationship Id="rId2" Type="http://schemas.openxmlformats.org/officeDocument/2006/relationships/slideLayout" Target="../slideLayouts/slideLayout7.xml"/><Relationship Id="rId3" Type="http://schemas.openxmlformats.org/officeDocument/2006/relationships/notesSlide" Target="../notesSlides/notesSlide3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6.xml"/></Relationships>
</file>

<file path=ppt/slides/_rels/slide357.xml.rels><?xml version='1.0' encoding='UTF-8' standalone='yes'?>
<Relationships xmlns="http://schemas.openxmlformats.org/package/2006/relationships"><Relationship Id="rId1" Type="http://schemas.openxmlformats.org/officeDocument/2006/relationships/tags" Target="../tags/tag384.xml"/><Relationship Id="rId2" Type="http://schemas.openxmlformats.org/officeDocument/2006/relationships/slideLayout" Target="../slideLayouts/slideLayout7.xml"/><Relationship Id="rId3" Type="http://schemas.openxmlformats.org/officeDocument/2006/relationships/notesSlide" Target="../notesSlides/notesSlide3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7.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notesSlide" Target="../notesSlides/notesSlide3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8.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notesSlide" Target="../notesSlides/notesSlide3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9.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60.xml.rels><?xml version='1.0' encoding='UTF-8' standalone='yes'?>
<Relationships xmlns="http://schemas.openxmlformats.org/package/2006/relationships"><Relationship Id="rId1" Type="http://schemas.openxmlformats.org/officeDocument/2006/relationships/tags" Target="../tags/tag387.xml"/><Relationship Id="rId2" Type="http://schemas.openxmlformats.org/officeDocument/2006/relationships/slideLayout" Target="../slideLayouts/slideLayout7.xml"/><Relationship Id="rId3" Type="http://schemas.openxmlformats.org/officeDocument/2006/relationships/notesSlide" Target="../notesSlides/notesSlide3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0.xml"/></Relationships>
</file>

<file path=ppt/slides/_rels/slide361.xml.rels><?xml version='1.0' encoding='UTF-8' standalone='yes'?>
<Relationships xmlns="http://schemas.openxmlformats.org/package/2006/relationships"><Relationship Id="rId1" Type="http://schemas.openxmlformats.org/officeDocument/2006/relationships/tags" Target="../tags/tag388.xml"/><Relationship Id="rId2" Type="http://schemas.openxmlformats.org/officeDocument/2006/relationships/slideLayout" Target="../slideLayouts/slideLayout7.xml"/><Relationship Id="rId3" Type="http://schemas.openxmlformats.org/officeDocument/2006/relationships/notesSlide" Target="../notesSlides/notesSlide3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s>
</file>

<file path=ppt/slides/_rels/slide362.xml.rels><?xml version='1.0' encoding='UTF-8' standalone='yes'?>
<Relationships xmlns="http://schemas.openxmlformats.org/package/2006/relationships"><Relationship Id="rId1" Type="http://schemas.openxmlformats.org/officeDocument/2006/relationships/tags" Target="../tags/tag389.xml"/><Relationship Id="rId2" Type="http://schemas.openxmlformats.org/officeDocument/2006/relationships/slideLayout" Target="../slideLayouts/slideLayout7.xml"/><Relationship Id="rId3" Type="http://schemas.openxmlformats.org/officeDocument/2006/relationships/notesSlide" Target="../notesSlides/notesSlide3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2.xml"/></Relationships>
</file>

<file path=ppt/slides/_rels/slide363.xml.rels><?xml version='1.0' encoding='UTF-8' standalone='yes'?>
<Relationships xmlns="http://schemas.openxmlformats.org/package/2006/relationships"><Relationship Id="rId1" Type="http://schemas.openxmlformats.org/officeDocument/2006/relationships/tags" Target="../tags/tag390.xml"/><Relationship Id="rId2" Type="http://schemas.openxmlformats.org/officeDocument/2006/relationships/slideLayout" Target="../slideLayouts/slideLayout7.xml"/><Relationship Id="rId3" Type="http://schemas.openxmlformats.org/officeDocument/2006/relationships/notesSlide" Target="../notesSlides/notesSlide3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3.xml"/></Relationships>
</file>

<file path=ppt/slides/_rels/slide364.xml.rels><?xml version='1.0' encoding='UTF-8' standalone='yes'?>
<Relationships xmlns="http://schemas.openxmlformats.org/package/2006/relationships"><Relationship Id="rId1" Type="http://schemas.openxmlformats.org/officeDocument/2006/relationships/tags" Target="../tags/tag391.xml"/><Relationship Id="rId2" Type="http://schemas.openxmlformats.org/officeDocument/2006/relationships/slideLayout" Target="../slideLayouts/slideLayout7.xml"/><Relationship Id="rId3" Type="http://schemas.openxmlformats.org/officeDocument/2006/relationships/notesSlide" Target="../notesSlides/notesSlide3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4.xml"/></Relationships>
</file>

<file path=ppt/slides/_rels/slide365.xml.rels><?xml version='1.0' encoding='UTF-8' standalone='yes'?>
<Relationships xmlns="http://schemas.openxmlformats.org/package/2006/relationships"><Relationship Id="rId1" Type="http://schemas.openxmlformats.org/officeDocument/2006/relationships/tags" Target="../tags/tag392.xml"/><Relationship Id="rId2" Type="http://schemas.openxmlformats.org/officeDocument/2006/relationships/slideLayout" Target="../slideLayouts/slideLayout7.xml"/><Relationship Id="rId3" Type="http://schemas.openxmlformats.org/officeDocument/2006/relationships/notesSlide" Target="../notesSlides/notesSlide3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5.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notesSlide" Target="../notesSlides/notesSlide3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6.xml"/></Relationships>
</file>

<file path=ppt/slides/_rels/slide367.xml.rels><?xml version='1.0' encoding='UTF-8' standalone='yes'?>
<Relationships xmlns="http://schemas.openxmlformats.org/package/2006/relationships"><Relationship Id="rId1" Type="http://schemas.openxmlformats.org/officeDocument/2006/relationships/tags" Target="../tags/tag394.xml"/><Relationship Id="rId2" Type="http://schemas.openxmlformats.org/officeDocument/2006/relationships/slideLayout" Target="../slideLayouts/slideLayout7.xml"/><Relationship Id="rId3" Type="http://schemas.openxmlformats.org/officeDocument/2006/relationships/notesSlide" Target="../notesSlides/notesSlide3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7.xml"/></Relationships>
</file>

<file path=ppt/slides/_rels/slide368.xml.rels><?xml version='1.0' encoding='UTF-8' standalone='yes'?>
<Relationships xmlns="http://schemas.openxmlformats.org/package/2006/relationships"><Relationship Id="rId1" Type="http://schemas.openxmlformats.org/officeDocument/2006/relationships/tags" Target="../tags/tag395.xml"/><Relationship Id="rId2" Type="http://schemas.openxmlformats.org/officeDocument/2006/relationships/slideLayout" Target="../slideLayouts/slideLayout7.xml"/><Relationship Id="rId3" Type="http://schemas.openxmlformats.org/officeDocument/2006/relationships/notesSlide" Target="../notesSlides/notesSlide3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8.xml"/></Relationships>
</file>

<file path=ppt/slides/_rels/slide369.xml.rels><?xml version='1.0' encoding='UTF-8' standalone='yes'?>
<Relationships xmlns="http://schemas.openxmlformats.org/package/2006/relationships"><Relationship Id="rId1" Type="http://schemas.openxmlformats.org/officeDocument/2006/relationships/tags" Target="../tags/tag396.xml"/><Relationship Id="rId2" Type="http://schemas.openxmlformats.org/officeDocument/2006/relationships/slideLayout" Target="../slideLayouts/slideLayout7.xml"/><Relationship Id="rId3" Type="http://schemas.openxmlformats.org/officeDocument/2006/relationships/notesSlide" Target="../notesSlides/notesSlide3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9.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70.xml.rels><?xml version='1.0' encoding='UTF-8' standalone='yes'?>
<Relationships xmlns="http://schemas.openxmlformats.org/package/2006/relationships"><Relationship Id="rId1" Type="http://schemas.openxmlformats.org/officeDocument/2006/relationships/tags" Target="../tags/tag397.xml"/><Relationship Id="rId2" Type="http://schemas.openxmlformats.org/officeDocument/2006/relationships/slideLayout" Target="../slideLayouts/slideLayout7.xml"/><Relationship Id="rId3" Type="http://schemas.openxmlformats.org/officeDocument/2006/relationships/notesSlide" Target="../notesSlides/notesSlide3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0.xml"/></Relationships>
</file>

<file path=ppt/slides/_rels/slide371.xml.rels><?xml version='1.0' encoding='UTF-8' standalone='yes'?>
<Relationships xmlns="http://schemas.openxmlformats.org/package/2006/relationships"><Relationship Id="rId1" Type="http://schemas.openxmlformats.org/officeDocument/2006/relationships/tags" Target="../tags/tag398.xml"/><Relationship Id="rId2" Type="http://schemas.openxmlformats.org/officeDocument/2006/relationships/slideLayout" Target="../slideLayouts/slideLayout7.xml"/><Relationship Id="rId3" Type="http://schemas.openxmlformats.org/officeDocument/2006/relationships/notesSlide" Target="../notesSlides/notesSlide3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1.xml"/></Relationships>
</file>

<file path=ppt/slides/_rels/slide372.xml.rels><?xml version='1.0' encoding='UTF-8' standalone='yes'?>
<Relationships xmlns="http://schemas.openxmlformats.org/package/2006/relationships"><Relationship Id="rId1" Type="http://schemas.openxmlformats.org/officeDocument/2006/relationships/tags" Target="../tags/tag399.xml"/><Relationship Id="rId2" Type="http://schemas.openxmlformats.org/officeDocument/2006/relationships/slideLayout" Target="../slideLayouts/slideLayout7.xml"/><Relationship Id="rId3" Type="http://schemas.openxmlformats.org/officeDocument/2006/relationships/notesSlide" Target="../notesSlides/notesSlide3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2.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notesSlide" Target="../notesSlides/notesSlide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notesSlide" Target="../notesSlides/notesSlide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notesSlide" Target="../notesSlides/notesSlide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notesSlide" Target="../notesSlides/notesSlide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notesSlide" Target="../notesSlides/notesSlide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675086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ydro Stubble Eraser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2118100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Quattro For Men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2616570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3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2442791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Stubble Eraser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1160898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Classic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936773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Injector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9514694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5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2130464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5-Blade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4655071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The Stylish 5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4552948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The Stylish 3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247693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asy Fit 3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13907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Xtreme 4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335292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Pbg Pl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9537850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3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1410291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4244165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2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8559949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Quattro For Men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1767540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4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8202122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Classic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1219609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Original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3112091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5587005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The Stylish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939489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Classic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6133262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peed 3 Sensitiv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4830511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The Essential 2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8452307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The Stylish 3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9554825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aliber 4 Max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2408136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Pbg Pl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8914943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Bj's And Sam's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6866339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3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7024914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Pbg Pl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664915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4032819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3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984063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Injector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3601318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5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9582944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Quattro For Men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0729863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3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0015269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Stubble Eraser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876251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Injector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9494736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5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2371814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5-Blade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5648424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The Stylish 5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97966688"/>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The Stylish 3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02886170"/>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asy Fit 3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758835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Original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5583814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3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48750053"/>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797278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2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1123480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Quattro For Men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6051820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4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8914444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Original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1813838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0484258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The Stylish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2805143"/>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peed 3 Sensitiv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55823471"/>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The Essential 2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199318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Xtreme 5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16895033"/>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The Stylish 3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8254148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aliber 4 Max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2956772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Pbg Pl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84039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2158301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6990744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Bj's And Sam's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1147574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19422374"/>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3109951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9545200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058739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5-Blad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8320770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3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9652938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5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9008627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Quattro For Men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255528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3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0882617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Stubble Eraser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9442863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Classic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91199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Injector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7508627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5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335213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5-Blade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62538683"/>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The Stylish 5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863203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The Stylish 5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93147422"/>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The Stylish 3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9610372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asy Fit 3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50058301"/>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Pbg Pl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6929378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3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0368674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45698566"/>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2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73726770"/>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Quattro For Men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1541676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4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49647950"/>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Classic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8364788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Original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547323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peed 3 Sensitiv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3462140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4680028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The Stylish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02838108"/>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peed 3 Sensitiv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36919785"/>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The Essential 2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79950140"/>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The Stylish 3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3896197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aliber 4 Max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30101642"/>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Pbg Pl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7744821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Bj's And Sam's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2826763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3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5316272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Pbg Pl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624676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The Essential 2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93403432"/>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4224571"/>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3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5813851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5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4431224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Quattro For Men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76625559"/>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3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2713884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Stubble Eraser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97411008"/>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Injector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4990756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5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0093784"/>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5-Blade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54444169"/>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The Stylish 5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225690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674381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The Stylish 3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16551821"/>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The Stylish 3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2709425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asy Fit 3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39024430"/>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3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1873438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ydro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4819991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2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02038860"/>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Quattro For Men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32467678"/>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4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44585332"/>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Original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2038594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Xtreme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9656734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The Stylish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876484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aliber 4 Max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75149658"/>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peed 3 Sensitiv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86796153"/>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The Essential 2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57147857"/>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The Stylish 3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11922498"/>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aliber 4 Max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58060906"/>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Pbg Pl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9073425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Personal Care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2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47057307"/>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Personal Care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4524689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Personal Car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9288907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Personal Care vs. Competition | P12M | Bj's And Sam'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5118849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Personal Care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373550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asy Fit 3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48353422"/>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Personal Care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56.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94203400"/>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Personal Care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30362008"/>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dgewell Personal Car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44729145"/>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remo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8.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57022627"/>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5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1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2310989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Quattro For Men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0236085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3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83171685"/>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tubble Eraser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94349342"/>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5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0029607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5-Blade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165674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Pbg Pl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5625741"/>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Stylish 5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76791399"/>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Stylish 3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45212169"/>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asy Fit 3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07396129"/>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Pl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2344162"/>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remo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96860959"/>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5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60955960"/>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Quattro For Men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10339047"/>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3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8791742"/>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tubble Eraser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95730601"/>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Injector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188123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30060156"/>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5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4593265"/>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5-Blade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8766812"/>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Stylish 5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585554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asy Fit 3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88779855"/>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Pl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30988208"/>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3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8695301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96265795"/>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2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82314491"/>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Quattro For Men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29099694"/>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4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583552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Xtreme 3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96621555"/>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Classic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15265159"/>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Original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34844289"/>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90482117"/>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Stylish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52882420"/>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peed 3 Sensitiv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78598461"/>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Essential 2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4079539"/>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Stylish 3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5973040"/>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aliber 4 Max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79825594"/>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Pl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8173872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remo vs. Competition | P12M | Bj's And Sam'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009592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Pbg Pl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65292771"/>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3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25495587"/>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Pl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44634713"/>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remo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97691333"/>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5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44596908"/>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Quattro For Men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87973789"/>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3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40536056"/>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tubble Eraser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36485136"/>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5-Blade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7584918"/>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Stylish 5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70435626"/>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Stylish 3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265552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13318692"/>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asy Fit 3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9145722"/>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remo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12262927"/>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5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92335045"/>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Quattro For Men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94538015"/>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3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68496342"/>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Stubble Eraser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93687049"/>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Injector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83092018"/>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5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49458542"/>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5-Blade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21013320"/>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Stylish 5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425990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Xtreme 3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66906962"/>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asy Fit 3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05892826"/>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3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09825435"/>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Hydro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49892968"/>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2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43418533"/>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Quattro For Men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48687042"/>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4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33006001"/>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Original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94772697"/>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Xtreme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91364836"/>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Stylish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26406424"/>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peed 3 Sensitiv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486250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ydro 5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92964310"/>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Essential 2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40322838"/>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The Stylish 3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60023960"/>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aliber 4 Max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72033553"/>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Pl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29770045"/>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Personal Care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2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72590854"/>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Personal Care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88072180"/>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Personal Car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08535969"/>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Personal Care vs. Competition | P12M | Bj's And Sam'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16192599"/>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Personal Care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78631125"/>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Personal Care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56.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749015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396958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Xtreme 2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20762670"/>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Personal Care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84465676"/>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dgewell Personal Car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26226050"/>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remo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8.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96070140"/>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5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1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04061487"/>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Quattro For Men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19106806"/>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3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89510993"/>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tubble Eraser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96313362"/>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5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50878957"/>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5-Blade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98445336"/>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Stylish 5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956680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Quattro For Men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08066241"/>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Stylish 3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3096166"/>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asy Fit 3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69184865"/>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Pl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87205036"/>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remo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47396490"/>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5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54694764"/>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Quattro For Men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82828487"/>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3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66198046"/>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tubble Eraser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65672639"/>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Injector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20468100"/>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5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896771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ydro 3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80727325"/>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5-Blade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36415790"/>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Stylish 5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6240577"/>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asy Fit 3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63139381"/>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Pl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03625649"/>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3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69070546"/>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89102070"/>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2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20168110"/>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Quattro For Men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92785207"/>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4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04243306"/>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Classic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451858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ydro Stubble Eraser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64618269"/>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Original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03146165"/>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48166901"/>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Stylish 5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87041099"/>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peed 3 Sensitiv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77653375"/>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Essential 2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67270923"/>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Stylish 3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13520791"/>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aliber 4 Max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16375025"/>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Pl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96497866"/>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remo vs. Competition | P12M | Bj's And Sam'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6730227"/>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3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696135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Xtreme 4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11243284"/>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Pl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85528391"/>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remo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03414053"/>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5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29762105"/>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Quattro For Men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51959384"/>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3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05162749"/>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tubble Eraser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80338093"/>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5-Blade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80582438"/>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Stylish 5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01588712"/>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Stylish 3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38623604"/>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asy Fit 3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720365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Injector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39407031"/>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remo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53871272"/>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5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06912838"/>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Quattro For Men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03346357"/>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3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46633002"/>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Stubble Eraser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71272992"/>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Injector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82620571"/>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5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80832257"/>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5-Blade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79302232"/>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Stylish 5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30254773"/>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asy Fit 3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014117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Original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52578474"/>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3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43815481"/>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Hydro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51249581"/>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2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87981433"/>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Quattro For Men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58039664"/>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4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1533815"/>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Original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14266878"/>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Xtreme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34569696"/>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Stylish 5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39602669"/>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peed 3 Sensitiv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39223554"/>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Essential 2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112171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Xtreme 5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8290900"/>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The Stylish 3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91029535"/>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aliber 4 Max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59207097"/>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Pl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566101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5-Blad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078083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The Stylish 5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074612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8554848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peed 3 Sensitiv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806182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The Essential 2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424718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The Stylish 3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710937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aliber 4 Max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562150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asy Fit 3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6317502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Pbg Pl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7885855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790914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752552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244948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076902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Xtreme 3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9436783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Xtreme 3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572919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ydro 5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7585314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Xtreme 2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34638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Quattro For Men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9391414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ydro 3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49473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ydro Stubble Eraser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1310961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Xtreme 4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6433445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Classic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7924512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Injector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9348486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Original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480736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ydro 5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9088110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Xtreme 5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01140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5-Blad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0961195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The Stylish 5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773398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peed 3 Sensitiv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4042653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The Essential 2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6376488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The Stylish 3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2595689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aliber 4 Max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6373410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asy Fit 3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3855376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Pbg Pl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7027995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341931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Xtreme 2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7600523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Xtreme 3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791138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Pbg Pl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3319520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405990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Xtreme 3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5003360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ydro 5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685074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Xtreme 2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4948434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Quattro For Men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67885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ydro 3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773770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ydro Stubble Eraser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5027133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Xtreme 4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964272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Quattro For Men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847982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Injector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2841685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Original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3258004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Xtreme 5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1639148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5-Blad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0637782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The Stylish 5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3961148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peed 3 Sensitiv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7850752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The Essential 2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098579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The Stylish 3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9909476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aliber 4 Max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2219621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asy Fit 3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516471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ydro 3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6565880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Pbg Pl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667596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1328032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4820675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Bj's And Sam's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1034409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5200011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1033154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5216244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604830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Xtreme 3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8627466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ydro 5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681350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36828</Words>
  <Application>Microsoft Office PowerPoint</Application>
  <PresentationFormat>On-screen Show (16:9)</PresentationFormat>
  <Paragraphs>7812</Paragraphs>
  <Slides>372</Slides>
  <Notes>37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72</vt:i4>
      </vt:variant>
    </vt:vector>
  </HeadingPairs>
  <TitlesOfParts>
    <vt:vector size="382"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03T09:1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